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70" r:id="rId2"/>
    <p:sldId id="256" r:id="rId3"/>
    <p:sldId id="267" r:id="rId4"/>
    <p:sldId id="257" r:id="rId5"/>
    <p:sldId id="258" r:id="rId6"/>
    <p:sldId id="271" r:id="rId7"/>
    <p:sldId id="259" r:id="rId8"/>
    <p:sldId id="268" r:id="rId9"/>
    <p:sldId id="262" r:id="rId10"/>
    <p:sldId id="263" r:id="rId11"/>
    <p:sldId id="269" r:id="rId12"/>
    <p:sldId id="272" r:id="rId13"/>
    <p:sldId id="264" r:id="rId14"/>
    <p:sldId id="266" r:id="rId15"/>
  </p:sldIdLst>
  <p:sldSz cx="9144000" cy="5715000" type="screen16x10"/>
  <p:notesSz cx="6858000" cy="9144000"/>
  <p:defaultTextStyle>
    <a:defPPr>
      <a:defRPr lang="en-US"/>
    </a:defPPr>
    <a:lvl1pPr marL="0" algn="l" defTabSz="45716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4" algn="l" defTabSz="45716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27" algn="l" defTabSz="45716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91" algn="l" defTabSz="45716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54" algn="l" defTabSz="45716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17" algn="l" defTabSz="45716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81" algn="l" defTabSz="45716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45" algn="l" defTabSz="45716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08" algn="l" defTabSz="45716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744">
          <p15:clr>
            <a:srgbClr val="A4A3A4"/>
          </p15:clr>
        </p15:guide>
        <p15:guide id="2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20F5"/>
    <a:srgbClr val="080419"/>
    <a:srgbClr val="1A2F4C"/>
    <a:srgbClr val="79B932"/>
    <a:srgbClr val="870150"/>
    <a:srgbClr val="671A86"/>
    <a:srgbClr val="269A8B"/>
    <a:srgbClr val="222179"/>
    <a:srgbClr val="C5041E"/>
    <a:srgbClr val="235D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87" autoAdjust="0"/>
    <p:restoredTop sz="99519" autoAdjust="0"/>
  </p:normalViewPr>
  <p:slideViewPr>
    <p:cSldViewPr snapToGrid="0" snapToObjects="1">
      <p:cViewPr>
        <p:scale>
          <a:sx n="150" d="100"/>
          <a:sy n="150" d="100"/>
        </p:scale>
        <p:origin x="-1648" y="-1944"/>
      </p:cViewPr>
      <p:guideLst>
        <p:guide orient="horz" pos="2744"/>
        <p:guide pos="575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-3736" y="-11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notesMaster" Target="notesMasters/notesMaster1.xml"/><Relationship Id="rId17" Type="http://schemas.openxmlformats.org/officeDocument/2006/relationships/handoutMaster" Target="handoutMasters/handoutMaster1.xml"/><Relationship Id="rId18" Type="http://schemas.openxmlformats.org/officeDocument/2006/relationships/printerSettings" Target="printerSettings/printerSettings1.bin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b="1" dirty="0" smtClean="0">
                <a:latin typeface="Arial"/>
                <a:cs typeface="Arial"/>
              </a:rPr>
              <a:t>Los Alamos National Laboratory</a:t>
            </a:r>
            <a:endParaRPr lang="en-US" b="1" dirty="0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b="1" dirty="0">
                <a:latin typeface="Arial"/>
                <a:cs typeface="Arial"/>
              </a:rPr>
              <a:t>UNCLASSIFIED  |  LA-UR-</a:t>
            </a:r>
            <a:r>
              <a:rPr lang="en-US" b="1" dirty="0" err="1">
                <a:latin typeface="Arial"/>
                <a:cs typeface="Arial"/>
              </a:rPr>
              <a:t>yy</a:t>
            </a:r>
            <a:r>
              <a:rPr lang="en-US" b="1" dirty="0">
                <a:latin typeface="Arial"/>
                <a:cs typeface="Arial"/>
              </a:rPr>
              <a:t>-#####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fld id="{6E5560EF-3C5A-5541-A07C-04D6F02DCCD2}" type="datetimeFigureOut">
              <a:rPr lang="en-US">
                <a:latin typeface="Arial"/>
                <a:cs typeface="Arial"/>
              </a:rPr>
              <a:pPr/>
              <a:t>4/5/17</a:t>
            </a:fld>
            <a:endParaRPr lang="en-US" dirty="0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3964B0-89DE-BA48-9DB8-30E2ACD1928B}" type="slidenum">
              <a:rPr lang="en-US" smtClean="0">
                <a:latin typeface="Arial"/>
                <a:cs typeface="Arial"/>
              </a:rPr>
              <a:t>‹#›</a:t>
            </a:fld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71530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b="1" dirty="0" smtClean="0">
                <a:latin typeface="Arial"/>
                <a:cs typeface="Arial"/>
              </a:rPr>
              <a:t>Los Alamos National Laboratory</a:t>
            </a:r>
            <a:endParaRPr lang="en-US" b="1" dirty="0">
              <a:latin typeface="Arial"/>
              <a:cs typeface="Arial"/>
            </a:endParaRPr>
          </a:p>
        </p:txBody>
      </p:sp>
      <p:sp>
        <p:nvSpPr>
          <p:cNvPr id="9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b="1" dirty="0" smtClean="0">
                <a:latin typeface="Arial"/>
                <a:cs typeface="Arial"/>
              </a:rPr>
              <a:t>UNCLASSIFIED  |  LA-UR-</a:t>
            </a:r>
            <a:r>
              <a:rPr lang="en-US" b="1" dirty="0" err="1" smtClean="0">
                <a:latin typeface="Arial"/>
                <a:cs typeface="Arial"/>
              </a:rPr>
              <a:t>yy</a:t>
            </a:r>
            <a:r>
              <a:rPr lang="en-US" b="1" dirty="0" smtClean="0">
                <a:latin typeface="Arial"/>
                <a:cs typeface="Arial"/>
              </a:rPr>
              <a:t>-#####</a:t>
            </a:r>
            <a:endParaRPr lang="en-US" b="1" dirty="0">
              <a:latin typeface="Arial"/>
              <a:cs typeface="Arial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fld id="{6E5560EF-3C5A-5541-A07C-04D6F02DCCD2}" type="datetimeFigureOut">
              <a:rPr lang="en-US">
                <a:latin typeface="Arial"/>
                <a:cs typeface="Arial"/>
              </a:rPr>
              <a:pPr/>
              <a:t>4/5/17</a:t>
            </a:fld>
            <a:endParaRPr lang="en-US" dirty="0">
              <a:latin typeface="Arial"/>
              <a:cs typeface="Arial"/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3964B0-89DE-BA48-9DB8-30E2ACD1928B}" type="slidenum">
              <a:rPr lang="en-US" smtClean="0">
                <a:latin typeface="Arial"/>
                <a:cs typeface="Arial"/>
              </a:rPr>
              <a:t>‹#›</a:t>
            </a:fld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92297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457164" rtl="0" eaLnBrk="1" latinLnBrk="0" hangingPunct="1">
      <a:buFont typeface="Arial"/>
      <a:buChar char="•"/>
      <a:defRPr sz="1400" b="1" kern="1200">
        <a:solidFill>
          <a:schemeClr val="tx1"/>
        </a:solidFill>
        <a:latin typeface="Arial"/>
        <a:ea typeface="+mn-ea"/>
        <a:cs typeface="Arial"/>
      </a:defRPr>
    </a:lvl1pPr>
    <a:lvl2pPr marL="393700" indent="-171450" algn="l" defTabSz="457164" rtl="0" eaLnBrk="1" latinLnBrk="0" hangingPunct="1">
      <a:buFont typeface="Arial"/>
      <a:buChar char="•"/>
      <a:defRPr sz="1200" kern="1200">
        <a:solidFill>
          <a:schemeClr val="tx1"/>
        </a:solidFill>
        <a:latin typeface="Arial"/>
        <a:ea typeface="+mn-ea"/>
        <a:cs typeface="Arial"/>
      </a:defRPr>
    </a:lvl2pPr>
    <a:lvl3pPr marL="566738" indent="-171450" algn="l" defTabSz="457164" rtl="0" eaLnBrk="1" latinLnBrk="0" hangingPunct="1">
      <a:buFont typeface="Arial"/>
      <a:buChar char="•"/>
      <a:tabLst/>
      <a:defRPr sz="1000" kern="1200">
        <a:solidFill>
          <a:schemeClr val="tx1"/>
        </a:solidFill>
        <a:latin typeface="Arial"/>
        <a:ea typeface="+mn-ea"/>
        <a:cs typeface="Arial"/>
      </a:defRPr>
    </a:lvl3pPr>
    <a:lvl4pPr marL="739775" indent="-171450" algn="l" defTabSz="457164" rtl="0" eaLnBrk="1" latinLnBrk="0" hangingPunct="1">
      <a:buFont typeface="Arial"/>
      <a:buChar char="•"/>
      <a:defRPr sz="800" kern="1200">
        <a:solidFill>
          <a:schemeClr val="tx1"/>
        </a:solidFill>
        <a:latin typeface="Arial"/>
        <a:ea typeface="+mn-ea"/>
        <a:cs typeface="Arial"/>
      </a:defRPr>
    </a:lvl4pPr>
    <a:lvl5pPr marL="2000104" indent="-171450" algn="l" defTabSz="457164" rtl="0" eaLnBrk="1" latinLnBrk="0" hangingPunct="1">
      <a:buFont typeface="Arial"/>
      <a:buChar char="•"/>
      <a:defRPr sz="800" kern="1200">
        <a:solidFill>
          <a:schemeClr val="tx1"/>
        </a:solidFill>
        <a:latin typeface="Arial"/>
        <a:ea typeface="+mn-ea"/>
        <a:cs typeface="Arial"/>
      </a:defRPr>
    </a:lvl5pPr>
    <a:lvl6pPr marL="2285817" algn="l" defTabSz="45716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81" algn="l" defTabSz="45716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45" algn="l" defTabSz="45716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08" algn="l" defTabSz="45716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3964B0-89DE-BA48-9DB8-30E2ACD1928B}" type="slidenum">
              <a:rPr lang="en-US" smtClean="0">
                <a:latin typeface="Arial"/>
                <a:cs typeface="Arial"/>
              </a:rPr>
              <a:t>2</a:t>
            </a:fld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668141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Relationship Id="rId3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Relationship Id="rId3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-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-1371600" y="0"/>
            <a:ext cx="1371600" cy="2677650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r>
              <a:rPr lang="en-US" sz="1200" b="1" dirty="0" smtClean="0">
                <a:solidFill>
                  <a:srgbClr val="000000"/>
                </a:solidFill>
              </a:rPr>
              <a:t>NOTE</a:t>
            </a:r>
            <a:r>
              <a:rPr lang="en-US" sz="1200" b="0" dirty="0" smtClean="0">
                <a:solidFill>
                  <a:srgbClr val="000000"/>
                </a:solidFill>
              </a:rPr>
              <a:t>: THIS IS YOUR WALK-IN SLIDE OPTION #1.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ead of the Title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lide, display this slide on the venue screen while your audience is arriving. 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is </a:t>
            </a:r>
            <a:r>
              <a:rPr lang="en-US" sz="1200" b="1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t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title slide. 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6" name="Picture 5" descr="LANL_allWHITE.ai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021" t="26248" r="27098" b="30198"/>
          <a:stretch/>
        </p:blipFill>
        <p:spPr>
          <a:xfrm>
            <a:off x="325945" y="448028"/>
            <a:ext cx="7542237" cy="376321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258057"/>
            <a:ext cx="9144000" cy="466313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D0C2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4572000" y="5539706"/>
            <a:ext cx="457200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Operated by Los Alamos National Security, LLC for the U.S. Department of Energy's NNSA</a:t>
            </a:r>
          </a:p>
        </p:txBody>
      </p:sp>
      <p:pic>
        <p:nvPicPr>
          <p:cNvPr id="12" name="Picture 11" descr="NNSA_80%.ai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116" t="44234" r="25200" b="40485"/>
          <a:stretch/>
        </p:blipFill>
        <p:spPr>
          <a:xfrm>
            <a:off x="8087551" y="5271918"/>
            <a:ext cx="961301" cy="32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120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ine-up slide - 3 in a row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 userDrawn="1"/>
        </p:nvSpPr>
        <p:spPr>
          <a:xfrm>
            <a:off x="6350" y="240294"/>
            <a:ext cx="9144000" cy="5246246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29306"/>
            <a:ext cx="8229600" cy="952500"/>
          </a:xfrm>
          <a:prstGeom prst="rect">
            <a:avLst/>
          </a:prstGeom>
        </p:spPr>
        <p:txBody>
          <a:bodyPr vert="horz" lIns="91433" tIns="45717" rIns="91433" bIns="45717"/>
          <a:lstStyle>
            <a:lvl1pPr algn="l">
              <a:defRPr sz="2400" b="1"/>
            </a:lvl1pPr>
          </a:lstStyle>
          <a:p>
            <a:r>
              <a:rPr lang="en-US" dirty="0" smtClean="0"/>
              <a:t>Click to add statement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181807"/>
            <a:ext cx="2949980" cy="1546879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342873" marR="0" indent="-342873" algn="l" defTabSz="45716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1500" smtClean="0"/>
            </a:lvl1pPr>
          </a:lstStyle>
          <a:p>
            <a:r>
              <a:rPr lang="en-US" sz="1500" dirty="0" smtClean="0">
                <a:solidFill>
                  <a:prstClr val="black"/>
                </a:solidFill>
                <a:latin typeface="Helvetica"/>
              </a:rPr>
              <a:t>Click icon to insert photo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4889360"/>
            <a:ext cx="2492780" cy="538925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0" indent="0" algn="r">
              <a:buNone/>
              <a:defRPr sz="1400" i="1"/>
            </a:lvl1pPr>
            <a:lvl2pPr marL="457164" indent="0">
              <a:buNone/>
              <a:defRPr sz="1800" i="1"/>
            </a:lvl2pPr>
            <a:lvl3pPr marL="914327" indent="0">
              <a:buNone/>
              <a:defRPr sz="1800" i="1"/>
            </a:lvl3pPr>
            <a:lvl4pPr marL="1371491" indent="0">
              <a:buNone/>
              <a:defRPr sz="1800" i="1"/>
            </a:lvl4pPr>
            <a:lvl5pPr marL="1828654" indent="0">
              <a:buNone/>
              <a:defRPr sz="1800" i="1"/>
            </a:lvl5pPr>
          </a:lstStyle>
          <a:p>
            <a:pPr lvl="0"/>
            <a:r>
              <a:rPr lang="en-US" dirty="0" smtClean="0"/>
              <a:t>Click to add caption</a:t>
            </a:r>
            <a:endParaRPr lang="en-US" dirty="0"/>
          </a:p>
        </p:txBody>
      </p:sp>
      <p:sp>
        <p:nvSpPr>
          <p:cNvPr id="20" name="Picture Placeholder 14"/>
          <p:cNvSpPr>
            <a:spLocks noGrp="1"/>
          </p:cNvSpPr>
          <p:nvPr>
            <p:ph type="pic" sz="quarter" idx="17" hasCustomPrompt="1"/>
          </p:nvPr>
        </p:nvSpPr>
        <p:spPr>
          <a:xfrm>
            <a:off x="3102428" y="1181807"/>
            <a:ext cx="2949980" cy="1546879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342873" marR="0" indent="-342873" algn="l" defTabSz="45716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1500" smtClean="0"/>
            </a:lvl1pPr>
          </a:lstStyle>
          <a:p>
            <a:r>
              <a:rPr lang="en-US" sz="1500" dirty="0" smtClean="0">
                <a:solidFill>
                  <a:prstClr val="black"/>
                </a:solidFill>
                <a:latin typeface="Helvetica"/>
              </a:rPr>
              <a:t>Click icon to insert photo</a:t>
            </a:r>
            <a:endParaRPr lang="en-US" dirty="0"/>
          </a:p>
        </p:txBody>
      </p:sp>
      <p:sp>
        <p:nvSpPr>
          <p:cNvPr id="21" name="Picture Placeholder 14"/>
          <p:cNvSpPr>
            <a:spLocks noGrp="1"/>
          </p:cNvSpPr>
          <p:nvPr>
            <p:ph type="pic" sz="quarter" idx="18" hasCustomPrompt="1"/>
          </p:nvPr>
        </p:nvSpPr>
        <p:spPr>
          <a:xfrm>
            <a:off x="6194020" y="1181807"/>
            <a:ext cx="2949980" cy="1546879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342873" marR="0" indent="-342873" algn="l" defTabSz="45716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1500" smtClean="0"/>
            </a:lvl1pPr>
          </a:lstStyle>
          <a:p>
            <a:r>
              <a:rPr lang="en-US" sz="1500" dirty="0" smtClean="0">
                <a:solidFill>
                  <a:prstClr val="black"/>
                </a:solidFill>
                <a:latin typeface="Helvetica"/>
              </a:rPr>
              <a:t>Click icon to insert photo</a:t>
            </a:r>
            <a:endParaRPr lang="en-US" dirty="0"/>
          </a:p>
        </p:txBody>
      </p:sp>
      <p:sp>
        <p:nvSpPr>
          <p:cNvPr id="36" name="Rectangle 35"/>
          <p:cNvSpPr/>
          <p:nvPr userDrawn="1"/>
        </p:nvSpPr>
        <p:spPr>
          <a:xfrm>
            <a:off x="-117070" y="1114869"/>
            <a:ext cx="101168" cy="335921"/>
          </a:xfrm>
          <a:prstGeom prst="rect">
            <a:avLst/>
          </a:prstGeom>
          <a:solidFill>
            <a:srgbClr val="2682C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 36"/>
          <p:cNvSpPr/>
          <p:nvPr userDrawn="1"/>
        </p:nvSpPr>
        <p:spPr>
          <a:xfrm>
            <a:off x="-117070" y="1450790"/>
            <a:ext cx="101168" cy="335921"/>
          </a:xfrm>
          <a:prstGeom prst="rect">
            <a:avLst/>
          </a:prstGeom>
          <a:solidFill>
            <a:srgbClr val="EA772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ectangle 37"/>
          <p:cNvSpPr/>
          <p:nvPr userDrawn="1"/>
        </p:nvSpPr>
        <p:spPr>
          <a:xfrm>
            <a:off x="-117070" y="1786710"/>
            <a:ext cx="101168" cy="335921"/>
          </a:xfrm>
          <a:prstGeom prst="rect">
            <a:avLst/>
          </a:prstGeom>
          <a:solidFill>
            <a:srgbClr val="F4482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/>
          <p:cNvSpPr/>
          <p:nvPr userDrawn="1"/>
        </p:nvSpPr>
        <p:spPr>
          <a:xfrm>
            <a:off x="-117070" y="2122631"/>
            <a:ext cx="101168" cy="335921"/>
          </a:xfrm>
          <a:prstGeom prst="rect">
            <a:avLst/>
          </a:prstGeom>
          <a:solidFill>
            <a:srgbClr val="22935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 39"/>
          <p:cNvSpPr/>
          <p:nvPr userDrawn="1"/>
        </p:nvSpPr>
        <p:spPr>
          <a:xfrm>
            <a:off x="-117070" y="0"/>
            <a:ext cx="101168" cy="335921"/>
          </a:xfrm>
          <a:prstGeom prst="rect">
            <a:avLst/>
          </a:prstGeom>
          <a:solidFill>
            <a:srgbClr val="0D0E2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40"/>
          <p:cNvSpPr/>
          <p:nvPr userDrawn="1"/>
        </p:nvSpPr>
        <p:spPr>
          <a:xfrm>
            <a:off x="-117070" y="335920"/>
            <a:ext cx="101168" cy="335921"/>
          </a:xfrm>
          <a:prstGeom prst="rect">
            <a:avLst/>
          </a:prstGeom>
          <a:solidFill>
            <a:srgbClr val="F8B61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41"/>
          <p:cNvSpPr/>
          <p:nvPr userDrawn="1"/>
        </p:nvSpPr>
        <p:spPr>
          <a:xfrm>
            <a:off x="-117070" y="727308"/>
            <a:ext cx="101168" cy="3359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19" hasCustomPrompt="1"/>
          </p:nvPr>
        </p:nvSpPr>
        <p:spPr>
          <a:xfrm>
            <a:off x="0" y="3309383"/>
            <a:ext cx="2949980" cy="1546879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342873" marR="0" indent="-342873" algn="l" defTabSz="45716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1500" smtClean="0"/>
            </a:lvl1pPr>
          </a:lstStyle>
          <a:p>
            <a:r>
              <a:rPr lang="en-US" sz="1500" dirty="0" smtClean="0">
                <a:solidFill>
                  <a:prstClr val="black"/>
                </a:solidFill>
                <a:latin typeface="Helvetica"/>
              </a:rPr>
              <a:t>Click icon to insert photo</a:t>
            </a:r>
            <a:endParaRPr lang="en-US" dirty="0"/>
          </a:p>
        </p:txBody>
      </p:sp>
      <p:sp>
        <p:nvSpPr>
          <p:cNvPr id="22" name="Picture Placeholder 14"/>
          <p:cNvSpPr>
            <a:spLocks noGrp="1"/>
          </p:cNvSpPr>
          <p:nvPr>
            <p:ph type="pic" sz="quarter" idx="20" hasCustomPrompt="1"/>
          </p:nvPr>
        </p:nvSpPr>
        <p:spPr>
          <a:xfrm>
            <a:off x="3102429" y="3309231"/>
            <a:ext cx="2949980" cy="1546879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342873" marR="0" indent="-342873" algn="l" defTabSz="45716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1500" smtClean="0"/>
            </a:lvl1pPr>
          </a:lstStyle>
          <a:p>
            <a:r>
              <a:rPr lang="en-US" sz="1500" dirty="0" smtClean="0">
                <a:solidFill>
                  <a:prstClr val="black"/>
                </a:solidFill>
                <a:latin typeface="Helvetica"/>
              </a:rPr>
              <a:t>Click icon to insert photo</a:t>
            </a:r>
            <a:endParaRPr lang="en-US" dirty="0"/>
          </a:p>
        </p:txBody>
      </p:sp>
      <p:sp>
        <p:nvSpPr>
          <p:cNvPr id="23" name="Picture Placeholder 14"/>
          <p:cNvSpPr>
            <a:spLocks noGrp="1"/>
          </p:cNvSpPr>
          <p:nvPr>
            <p:ph type="pic" sz="quarter" idx="21" hasCustomPrompt="1"/>
          </p:nvPr>
        </p:nvSpPr>
        <p:spPr>
          <a:xfrm>
            <a:off x="6194020" y="3309383"/>
            <a:ext cx="2949980" cy="1546879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342873" marR="0" indent="-342873" algn="l" defTabSz="45716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1500" smtClean="0"/>
            </a:lvl1pPr>
          </a:lstStyle>
          <a:p>
            <a:r>
              <a:rPr lang="en-US" sz="1500" dirty="0" smtClean="0">
                <a:solidFill>
                  <a:prstClr val="black"/>
                </a:solidFill>
                <a:latin typeface="Helvetica"/>
              </a:rPr>
              <a:t>Click icon to insert photo</a:t>
            </a:r>
            <a:endParaRPr lang="en-US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3559629" y="4889360"/>
            <a:ext cx="2492780" cy="538925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0" indent="0" algn="r">
              <a:buNone/>
              <a:defRPr sz="1400" i="1"/>
            </a:lvl1pPr>
            <a:lvl2pPr marL="457164" indent="0">
              <a:buNone/>
              <a:defRPr sz="1800" i="1"/>
            </a:lvl2pPr>
            <a:lvl3pPr marL="914327" indent="0">
              <a:buNone/>
              <a:defRPr sz="1800" i="1"/>
            </a:lvl3pPr>
            <a:lvl4pPr marL="1371491" indent="0">
              <a:buNone/>
              <a:defRPr sz="1800" i="1"/>
            </a:lvl4pPr>
            <a:lvl5pPr marL="1828654" indent="0">
              <a:buNone/>
              <a:defRPr sz="1800" i="1"/>
            </a:lvl5pPr>
          </a:lstStyle>
          <a:p>
            <a:pPr lvl="0"/>
            <a:r>
              <a:rPr lang="en-US" dirty="0" smtClean="0"/>
              <a:t>Click to add caption</a:t>
            </a:r>
            <a:endParaRPr lang="en-US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6565875" y="4889360"/>
            <a:ext cx="2492780" cy="538925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0" indent="0" algn="r">
              <a:buNone/>
              <a:defRPr sz="1400" i="1"/>
            </a:lvl1pPr>
            <a:lvl2pPr marL="457164" indent="0">
              <a:buNone/>
              <a:defRPr sz="1800" i="1"/>
            </a:lvl2pPr>
            <a:lvl3pPr marL="914327" indent="0">
              <a:buNone/>
              <a:defRPr sz="1800" i="1"/>
            </a:lvl3pPr>
            <a:lvl4pPr marL="1371491" indent="0">
              <a:buNone/>
              <a:defRPr sz="1800" i="1"/>
            </a:lvl4pPr>
            <a:lvl5pPr marL="1828654" indent="0">
              <a:buNone/>
              <a:defRPr sz="1800" i="1"/>
            </a:lvl5pPr>
          </a:lstStyle>
          <a:p>
            <a:pPr lvl="0"/>
            <a:r>
              <a:rPr lang="en-US" dirty="0" smtClean="0"/>
              <a:t>Click to add caption</a:t>
            </a:r>
            <a:endParaRPr lang="en-US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57200" y="2770306"/>
            <a:ext cx="2492780" cy="538925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0" indent="0" algn="r">
              <a:buNone/>
              <a:defRPr sz="1400" i="1"/>
            </a:lvl1pPr>
            <a:lvl2pPr marL="457164" indent="0">
              <a:buNone/>
              <a:defRPr sz="1800" i="1"/>
            </a:lvl2pPr>
            <a:lvl3pPr marL="914327" indent="0">
              <a:buNone/>
              <a:defRPr sz="1800" i="1"/>
            </a:lvl3pPr>
            <a:lvl4pPr marL="1371491" indent="0">
              <a:buNone/>
              <a:defRPr sz="1800" i="1"/>
            </a:lvl4pPr>
            <a:lvl5pPr marL="1828654" indent="0">
              <a:buNone/>
              <a:defRPr sz="1800" i="1"/>
            </a:lvl5pPr>
          </a:lstStyle>
          <a:p>
            <a:pPr lvl="0"/>
            <a:r>
              <a:rPr lang="en-US" dirty="0" smtClean="0"/>
              <a:t>Click to add caption</a:t>
            </a:r>
            <a:endParaRPr lang="en-US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3559629" y="2770306"/>
            <a:ext cx="2492780" cy="538925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0" indent="0" algn="r">
              <a:buNone/>
              <a:defRPr sz="1400" i="1"/>
            </a:lvl1pPr>
            <a:lvl2pPr marL="457164" indent="0">
              <a:buNone/>
              <a:defRPr sz="1800" i="1"/>
            </a:lvl2pPr>
            <a:lvl3pPr marL="914327" indent="0">
              <a:buNone/>
              <a:defRPr sz="1800" i="1"/>
            </a:lvl3pPr>
            <a:lvl4pPr marL="1371491" indent="0">
              <a:buNone/>
              <a:defRPr sz="1800" i="1"/>
            </a:lvl4pPr>
            <a:lvl5pPr marL="1828654" indent="0">
              <a:buNone/>
              <a:defRPr sz="1800" i="1"/>
            </a:lvl5pPr>
          </a:lstStyle>
          <a:p>
            <a:pPr lvl="0"/>
            <a:r>
              <a:rPr lang="en-US" dirty="0" smtClean="0"/>
              <a:t>Click to add caption</a:t>
            </a:r>
            <a:endParaRPr lang="en-US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6565875" y="2770306"/>
            <a:ext cx="2492780" cy="538925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0" indent="0" algn="r">
              <a:buNone/>
              <a:defRPr sz="1400" i="1"/>
            </a:lvl1pPr>
            <a:lvl2pPr marL="457164" indent="0">
              <a:buNone/>
              <a:defRPr sz="1800" i="1"/>
            </a:lvl2pPr>
            <a:lvl3pPr marL="914327" indent="0">
              <a:buNone/>
              <a:defRPr sz="1800" i="1"/>
            </a:lvl3pPr>
            <a:lvl4pPr marL="1371491" indent="0">
              <a:buNone/>
              <a:defRPr sz="1800" i="1"/>
            </a:lvl4pPr>
            <a:lvl5pPr marL="1828654" indent="0">
              <a:buNone/>
              <a:defRPr sz="1800" i="1"/>
            </a:lvl5pPr>
          </a:lstStyle>
          <a:p>
            <a:pPr lvl="0"/>
            <a:r>
              <a:rPr lang="en-US" dirty="0" smtClean="0"/>
              <a:t>Click to add ca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943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dar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29306"/>
            <a:ext cx="8229600" cy="952500"/>
          </a:xfrm>
          <a:prstGeom prst="rect">
            <a:avLst/>
          </a:prstGeom>
        </p:spPr>
        <p:txBody>
          <a:bodyPr vert="horz" lIns="91433" tIns="45717" rIns="91433" bIns="45717"/>
          <a:lstStyle>
            <a:lvl1pPr algn="l">
              <a:defRPr sz="2400" b="1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0" name="Rectangle 29"/>
          <p:cNvSpPr/>
          <p:nvPr userDrawn="1"/>
        </p:nvSpPr>
        <p:spPr>
          <a:xfrm>
            <a:off x="-117070" y="1114869"/>
            <a:ext cx="101168" cy="335921"/>
          </a:xfrm>
          <a:prstGeom prst="rect">
            <a:avLst/>
          </a:prstGeom>
          <a:solidFill>
            <a:srgbClr val="2682C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-117070" y="1450790"/>
            <a:ext cx="101168" cy="335921"/>
          </a:xfrm>
          <a:prstGeom prst="rect">
            <a:avLst/>
          </a:prstGeom>
          <a:solidFill>
            <a:srgbClr val="EA772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 userDrawn="1"/>
        </p:nvSpPr>
        <p:spPr>
          <a:xfrm>
            <a:off x="-117070" y="1786710"/>
            <a:ext cx="101168" cy="335921"/>
          </a:xfrm>
          <a:prstGeom prst="rect">
            <a:avLst/>
          </a:prstGeom>
          <a:solidFill>
            <a:srgbClr val="F4482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32"/>
          <p:cNvSpPr/>
          <p:nvPr userDrawn="1"/>
        </p:nvSpPr>
        <p:spPr>
          <a:xfrm>
            <a:off x="-117070" y="2122631"/>
            <a:ext cx="101168" cy="335921"/>
          </a:xfrm>
          <a:prstGeom prst="rect">
            <a:avLst/>
          </a:prstGeom>
          <a:solidFill>
            <a:srgbClr val="22935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 33"/>
          <p:cNvSpPr/>
          <p:nvPr userDrawn="1"/>
        </p:nvSpPr>
        <p:spPr>
          <a:xfrm>
            <a:off x="-117070" y="0"/>
            <a:ext cx="101168" cy="335921"/>
          </a:xfrm>
          <a:prstGeom prst="rect">
            <a:avLst/>
          </a:prstGeom>
          <a:solidFill>
            <a:srgbClr val="0D0E2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 userDrawn="1"/>
        </p:nvSpPr>
        <p:spPr>
          <a:xfrm>
            <a:off x="-117070" y="335920"/>
            <a:ext cx="101168" cy="335921"/>
          </a:xfrm>
          <a:prstGeom prst="rect">
            <a:avLst/>
          </a:prstGeom>
          <a:solidFill>
            <a:srgbClr val="F8B61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 35"/>
          <p:cNvSpPr/>
          <p:nvPr userDrawn="1"/>
        </p:nvSpPr>
        <p:spPr>
          <a:xfrm>
            <a:off x="-117070" y="727308"/>
            <a:ext cx="101168" cy="3359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57200" y="1333501"/>
            <a:ext cx="8229600" cy="3802944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231775" indent="-231775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>
                <a:solidFill>
                  <a:schemeClr val="bg1"/>
                </a:solidFill>
              </a:defRPr>
            </a:lvl1pPr>
            <a:lvl2pPr marL="452438" indent="-220663" defTabSz="574675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>
                <a:solidFill>
                  <a:schemeClr val="bg1"/>
                </a:solidFill>
              </a:defRPr>
            </a:lvl2pPr>
            <a:lvl3pPr marL="687388" indent="-227013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400">
                <a:solidFill>
                  <a:schemeClr val="bg1"/>
                </a:solidFill>
              </a:defRPr>
            </a:lvl3pPr>
            <a:lvl4pPr marL="912813" indent="-227013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400">
                <a:solidFill>
                  <a:schemeClr val="bg1"/>
                </a:solidFill>
              </a:defRPr>
            </a:lvl4pPr>
            <a:lvl5pPr marL="922337" indent="0">
              <a:spcBef>
                <a:spcPts val="0"/>
              </a:spcBef>
              <a:spcAft>
                <a:spcPts val="600"/>
              </a:spcAft>
              <a:buFont typeface="Arial"/>
              <a:buNone/>
              <a:defRPr sz="1100"/>
            </a:lvl5pPr>
            <a:lvl6pPr marL="1370013" indent="-227013">
              <a:tabLst/>
              <a:defRPr sz="1100"/>
            </a:lvl6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70580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4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229308"/>
            <a:ext cx="9144000" cy="5256829"/>
          </a:xfrm>
          <a:prstGeom prst="rect">
            <a:avLst/>
          </a:prstGeom>
        </p:spPr>
        <p:txBody>
          <a:bodyPr vert="horz" lIns="91433" tIns="45717" rIns="91433" bIns="45717" anchor="ctr"/>
          <a:lstStyle>
            <a:lvl1pPr marL="0" marR="0" indent="0" algn="ctr" defTabSz="45716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500" smtClean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icon to insert photo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875329" y="3046994"/>
            <a:ext cx="5393342" cy="461659"/>
          </a:xfrm>
          <a:prstGeom prst="rect">
            <a:avLst/>
          </a:prstGeom>
          <a:solidFill>
            <a:schemeClr val="accent1">
              <a:alpha val="70000"/>
            </a:schemeClr>
          </a:solidFill>
        </p:spPr>
        <p:txBody>
          <a:bodyPr vert="horz" wrap="square" lIns="91433" tIns="45717" rIns="91433" bIns="45717">
            <a:spAutoFit/>
          </a:bodyPr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add statement</a:t>
            </a:r>
            <a:endParaRPr lang="en-US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-117070" y="1114869"/>
            <a:ext cx="101168" cy="335921"/>
          </a:xfrm>
          <a:prstGeom prst="rect">
            <a:avLst/>
          </a:prstGeom>
          <a:solidFill>
            <a:srgbClr val="2682C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/>
          <p:cNvSpPr/>
          <p:nvPr userDrawn="1"/>
        </p:nvSpPr>
        <p:spPr>
          <a:xfrm>
            <a:off x="-117070" y="1450790"/>
            <a:ext cx="101168" cy="335921"/>
          </a:xfrm>
          <a:prstGeom prst="rect">
            <a:avLst/>
          </a:prstGeom>
          <a:solidFill>
            <a:srgbClr val="EA772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-117070" y="1786710"/>
            <a:ext cx="101168" cy="335921"/>
          </a:xfrm>
          <a:prstGeom prst="rect">
            <a:avLst/>
          </a:prstGeom>
          <a:solidFill>
            <a:srgbClr val="F4482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 userDrawn="1"/>
        </p:nvSpPr>
        <p:spPr>
          <a:xfrm>
            <a:off x="-117070" y="2122631"/>
            <a:ext cx="101168" cy="335921"/>
          </a:xfrm>
          <a:prstGeom prst="rect">
            <a:avLst/>
          </a:prstGeom>
          <a:solidFill>
            <a:srgbClr val="22935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32"/>
          <p:cNvSpPr/>
          <p:nvPr userDrawn="1"/>
        </p:nvSpPr>
        <p:spPr>
          <a:xfrm>
            <a:off x="-117070" y="0"/>
            <a:ext cx="101168" cy="335921"/>
          </a:xfrm>
          <a:prstGeom prst="rect">
            <a:avLst/>
          </a:prstGeom>
          <a:solidFill>
            <a:srgbClr val="0D0E2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 33"/>
          <p:cNvSpPr/>
          <p:nvPr userDrawn="1"/>
        </p:nvSpPr>
        <p:spPr>
          <a:xfrm>
            <a:off x="-117070" y="335920"/>
            <a:ext cx="101168" cy="335921"/>
          </a:xfrm>
          <a:prstGeom prst="rect">
            <a:avLst/>
          </a:prstGeom>
          <a:solidFill>
            <a:srgbClr val="F8B61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 userDrawn="1"/>
        </p:nvSpPr>
        <p:spPr>
          <a:xfrm>
            <a:off x="-117070" y="727308"/>
            <a:ext cx="101168" cy="3359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63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406468"/>
            <a:ext cx="8229600" cy="952500"/>
          </a:xfrm>
          <a:prstGeom prst="rect">
            <a:avLst/>
          </a:prstGeom>
        </p:spPr>
        <p:txBody>
          <a:bodyPr vert="horz" lIns="91433" tIns="45717" rIns="91433" bIns="45717"/>
          <a:lstStyle>
            <a:lvl1pPr algn="ctr">
              <a:defRPr sz="2400" b="1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add statement</a:t>
            </a:r>
            <a:endParaRPr lang="en-US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-117070" y="1114869"/>
            <a:ext cx="101168" cy="335921"/>
          </a:xfrm>
          <a:prstGeom prst="rect">
            <a:avLst/>
          </a:prstGeom>
          <a:solidFill>
            <a:srgbClr val="2682C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/>
          <p:cNvSpPr/>
          <p:nvPr userDrawn="1"/>
        </p:nvSpPr>
        <p:spPr>
          <a:xfrm>
            <a:off x="-117070" y="1450790"/>
            <a:ext cx="101168" cy="335921"/>
          </a:xfrm>
          <a:prstGeom prst="rect">
            <a:avLst/>
          </a:prstGeom>
          <a:solidFill>
            <a:srgbClr val="EA772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-117070" y="1786710"/>
            <a:ext cx="101168" cy="335921"/>
          </a:xfrm>
          <a:prstGeom prst="rect">
            <a:avLst/>
          </a:prstGeom>
          <a:solidFill>
            <a:srgbClr val="F4482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 userDrawn="1"/>
        </p:nvSpPr>
        <p:spPr>
          <a:xfrm>
            <a:off x="-117070" y="2122631"/>
            <a:ext cx="101168" cy="335921"/>
          </a:xfrm>
          <a:prstGeom prst="rect">
            <a:avLst/>
          </a:prstGeom>
          <a:solidFill>
            <a:srgbClr val="22935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32"/>
          <p:cNvSpPr/>
          <p:nvPr userDrawn="1"/>
        </p:nvSpPr>
        <p:spPr>
          <a:xfrm>
            <a:off x="-117070" y="0"/>
            <a:ext cx="101168" cy="335921"/>
          </a:xfrm>
          <a:prstGeom prst="rect">
            <a:avLst/>
          </a:prstGeom>
          <a:solidFill>
            <a:srgbClr val="0D0E2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 33"/>
          <p:cNvSpPr/>
          <p:nvPr userDrawn="1"/>
        </p:nvSpPr>
        <p:spPr>
          <a:xfrm>
            <a:off x="-117070" y="335920"/>
            <a:ext cx="101168" cy="335921"/>
          </a:xfrm>
          <a:prstGeom prst="rect">
            <a:avLst/>
          </a:prstGeom>
          <a:solidFill>
            <a:srgbClr val="F8B61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 userDrawn="1"/>
        </p:nvSpPr>
        <p:spPr>
          <a:xfrm>
            <a:off x="-117070" y="727308"/>
            <a:ext cx="101168" cy="3359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181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 userDrawn="1"/>
        </p:nvSpPr>
        <p:spPr>
          <a:xfrm>
            <a:off x="-117070" y="1114869"/>
            <a:ext cx="101168" cy="335921"/>
          </a:xfrm>
          <a:prstGeom prst="rect">
            <a:avLst/>
          </a:prstGeom>
          <a:solidFill>
            <a:srgbClr val="2682C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/>
          <p:cNvSpPr/>
          <p:nvPr userDrawn="1"/>
        </p:nvSpPr>
        <p:spPr>
          <a:xfrm>
            <a:off x="-117070" y="1450790"/>
            <a:ext cx="101168" cy="335921"/>
          </a:xfrm>
          <a:prstGeom prst="rect">
            <a:avLst/>
          </a:prstGeom>
          <a:solidFill>
            <a:srgbClr val="EA772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-117070" y="1786710"/>
            <a:ext cx="101168" cy="335921"/>
          </a:xfrm>
          <a:prstGeom prst="rect">
            <a:avLst/>
          </a:prstGeom>
          <a:solidFill>
            <a:srgbClr val="F4482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 userDrawn="1"/>
        </p:nvSpPr>
        <p:spPr>
          <a:xfrm>
            <a:off x="-117070" y="2122631"/>
            <a:ext cx="101168" cy="335921"/>
          </a:xfrm>
          <a:prstGeom prst="rect">
            <a:avLst/>
          </a:prstGeom>
          <a:solidFill>
            <a:srgbClr val="22935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32"/>
          <p:cNvSpPr/>
          <p:nvPr userDrawn="1"/>
        </p:nvSpPr>
        <p:spPr>
          <a:xfrm>
            <a:off x="-117070" y="0"/>
            <a:ext cx="101168" cy="335921"/>
          </a:xfrm>
          <a:prstGeom prst="rect">
            <a:avLst/>
          </a:prstGeom>
          <a:solidFill>
            <a:srgbClr val="0D0E2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 33"/>
          <p:cNvSpPr/>
          <p:nvPr userDrawn="1"/>
        </p:nvSpPr>
        <p:spPr>
          <a:xfrm>
            <a:off x="-117070" y="335920"/>
            <a:ext cx="101168" cy="335921"/>
          </a:xfrm>
          <a:prstGeom prst="rect">
            <a:avLst/>
          </a:prstGeom>
          <a:solidFill>
            <a:srgbClr val="F8B61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 userDrawn="1"/>
        </p:nvSpPr>
        <p:spPr>
          <a:xfrm>
            <a:off x="-117070" y="727308"/>
            <a:ext cx="101168" cy="3359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6350" y="240294"/>
            <a:ext cx="9144000" cy="5246246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233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-in slide - Photo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ANL_allWHITE.ai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021" t="26248" r="27098" b="30198"/>
          <a:stretch/>
        </p:blipFill>
        <p:spPr>
          <a:xfrm>
            <a:off x="5582838" y="600428"/>
            <a:ext cx="3055811" cy="152470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258057"/>
            <a:ext cx="9144000" cy="466313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D0C2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4572000" y="5539706"/>
            <a:ext cx="457200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Operated by Los Alamos National Security, LLC for the U.S. Department of Energy's NNSA</a:t>
            </a:r>
          </a:p>
        </p:txBody>
      </p:sp>
      <p:pic>
        <p:nvPicPr>
          <p:cNvPr id="12" name="Picture 11" descr="NNSA_80%.ai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116" t="44234" r="25200" b="40485"/>
          <a:stretch/>
        </p:blipFill>
        <p:spPr>
          <a:xfrm>
            <a:off x="8087551" y="5271918"/>
            <a:ext cx="961301" cy="321552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8467"/>
            <a:ext cx="5334000" cy="5266267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80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icon to insert photo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Right Triangle 4"/>
          <p:cNvSpPr/>
          <p:nvPr userDrawn="1"/>
        </p:nvSpPr>
        <p:spPr>
          <a:xfrm>
            <a:off x="5334000" y="-8467"/>
            <a:ext cx="3810000" cy="5257800"/>
          </a:xfrm>
          <a:custGeom>
            <a:avLst/>
            <a:gdLst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3810000 w 3810000"/>
              <a:gd name="connsiteY2" fmla="*/ 5257800 h 5257800"/>
              <a:gd name="connsiteX3" fmla="*/ 0 w 3810000"/>
              <a:gd name="connsiteY3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337733 w 3810000"/>
              <a:gd name="connsiteY2" fmla="*/ 3302000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337733 w 3810000"/>
              <a:gd name="connsiteY2" fmla="*/ 3302000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337733 w 3810000"/>
              <a:gd name="connsiteY2" fmla="*/ 3302000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193800 w 3810000"/>
              <a:gd name="connsiteY2" fmla="*/ 3970867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193800 w 3810000"/>
              <a:gd name="connsiteY2" fmla="*/ 3970867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193800 w 3810000"/>
              <a:gd name="connsiteY2" fmla="*/ 3970867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193800 w 3810000"/>
              <a:gd name="connsiteY2" fmla="*/ 3970867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193800 w 3810000"/>
              <a:gd name="connsiteY2" fmla="*/ 3970867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193800 w 3810000"/>
              <a:gd name="connsiteY2" fmla="*/ 3970867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346200 w 3810000"/>
              <a:gd name="connsiteY2" fmla="*/ 3852333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346200 w 3810000"/>
              <a:gd name="connsiteY2" fmla="*/ 3852333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049867 w 3810000"/>
              <a:gd name="connsiteY2" fmla="*/ 3869266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049867 w 3810000"/>
              <a:gd name="connsiteY2" fmla="*/ 3869266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049867 w 3810000"/>
              <a:gd name="connsiteY2" fmla="*/ 3869266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049867 w 3810000"/>
              <a:gd name="connsiteY2" fmla="*/ 3869266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049867 w 3810000"/>
              <a:gd name="connsiteY2" fmla="*/ 3869266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193801 w 3810000"/>
              <a:gd name="connsiteY2" fmla="*/ 3911599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193801 w 3810000"/>
              <a:gd name="connsiteY2" fmla="*/ 3911599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193801 w 3810000"/>
              <a:gd name="connsiteY2" fmla="*/ 3911599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  <a:gd name="connsiteX0" fmla="*/ 0 w 3810000"/>
              <a:gd name="connsiteY0" fmla="*/ 5257800 h 5257800"/>
              <a:gd name="connsiteX1" fmla="*/ 0 w 3810000"/>
              <a:gd name="connsiteY1" fmla="*/ 0 h 5257800"/>
              <a:gd name="connsiteX2" fmla="*/ 1193801 w 3810000"/>
              <a:gd name="connsiteY2" fmla="*/ 3911599 h 5257800"/>
              <a:gd name="connsiteX3" fmla="*/ 3810000 w 3810000"/>
              <a:gd name="connsiteY3" fmla="*/ 5257800 h 5257800"/>
              <a:gd name="connsiteX4" fmla="*/ 0 w 3810000"/>
              <a:gd name="connsiteY4" fmla="*/ 5257800 h 525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10000" h="5257800">
                <a:moveTo>
                  <a:pt x="0" y="5257800"/>
                </a:moveTo>
                <a:lnTo>
                  <a:pt x="0" y="0"/>
                </a:lnTo>
                <a:cubicBezTo>
                  <a:pt x="16933" y="708378"/>
                  <a:pt x="59269" y="2737554"/>
                  <a:pt x="1193801" y="3911599"/>
                </a:cubicBezTo>
                <a:cubicBezTo>
                  <a:pt x="1899356" y="4580464"/>
                  <a:pt x="2791178" y="5012267"/>
                  <a:pt x="3810000" y="5257800"/>
                </a:cubicBezTo>
                <a:lnTo>
                  <a:pt x="0" y="5257800"/>
                </a:lnTo>
                <a:close/>
              </a:path>
            </a:pathLst>
          </a:custGeom>
          <a:solidFill>
            <a:srgbClr val="080419">
              <a:alpha val="33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5884335" y="2743200"/>
            <a:ext cx="29717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dirty="0" smtClean="0">
                <a:solidFill>
                  <a:srgbClr val="FFFFFF">
                    <a:alpha val="75000"/>
                  </a:srgbClr>
                </a:solidFill>
                <a:latin typeface="Arial"/>
                <a:cs typeface="Arial"/>
              </a:rPr>
              <a:t>Delivering science and technology</a:t>
            </a:r>
            <a:r>
              <a:rPr lang="en-US" sz="1400" b="0" i="0" baseline="0" dirty="0" smtClean="0">
                <a:solidFill>
                  <a:srgbClr val="FFFFFF">
                    <a:alpha val="75000"/>
                  </a:srgbClr>
                </a:solidFill>
                <a:latin typeface="Arial"/>
                <a:cs typeface="Arial"/>
              </a:rPr>
              <a:t/>
            </a:r>
            <a:br>
              <a:rPr lang="en-US" sz="1400" b="0" i="0" baseline="0" dirty="0" smtClean="0">
                <a:solidFill>
                  <a:srgbClr val="FFFFFF">
                    <a:alpha val="75000"/>
                  </a:srgbClr>
                </a:solidFill>
                <a:latin typeface="Arial"/>
                <a:cs typeface="Arial"/>
              </a:rPr>
            </a:br>
            <a:r>
              <a:rPr lang="en-US" sz="1400" b="0" i="0" baseline="0" dirty="0" smtClean="0">
                <a:solidFill>
                  <a:srgbClr val="FFFFFF">
                    <a:alpha val="75000"/>
                  </a:srgbClr>
                </a:solidFill>
                <a:latin typeface="Arial"/>
                <a:cs typeface="Arial"/>
              </a:rPr>
              <a:t>to protect our nation</a:t>
            </a:r>
            <a:br>
              <a:rPr lang="en-US" sz="1400" b="0" i="0" baseline="0" dirty="0" smtClean="0">
                <a:solidFill>
                  <a:srgbClr val="FFFFFF">
                    <a:alpha val="75000"/>
                  </a:srgbClr>
                </a:solidFill>
                <a:latin typeface="Arial"/>
                <a:cs typeface="Arial"/>
              </a:rPr>
            </a:br>
            <a:r>
              <a:rPr lang="en-US" sz="1400" b="0" i="0" baseline="0" dirty="0" smtClean="0">
                <a:solidFill>
                  <a:srgbClr val="FFFFFF">
                    <a:alpha val="75000"/>
                  </a:srgbClr>
                </a:solidFill>
                <a:latin typeface="Arial"/>
                <a:cs typeface="Arial"/>
              </a:rPr>
              <a:t>and promote world stability</a:t>
            </a:r>
          </a:p>
          <a:p>
            <a:pPr algn="ctr"/>
            <a:endParaRPr lang="en-US" sz="1400" dirty="0">
              <a:solidFill>
                <a:srgbClr val="FFFFFF">
                  <a:alpha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-1439333" y="0"/>
            <a:ext cx="1439333" cy="3231647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r>
              <a:rPr lang="en-US" sz="1200" b="1" dirty="0" smtClean="0">
                <a:solidFill>
                  <a:srgbClr val="000000"/>
                </a:solidFill>
              </a:rPr>
              <a:t>NOTE</a:t>
            </a:r>
            <a:r>
              <a:rPr lang="en-US" sz="1200" b="0" dirty="0" smtClean="0">
                <a:solidFill>
                  <a:srgbClr val="000000"/>
                </a:solidFill>
              </a:rPr>
              <a:t>: THIS IS YOUR WALK</a:t>
            </a:r>
            <a:r>
              <a:rPr lang="en-US" sz="1200" b="0" baseline="0" dirty="0" smtClean="0">
                <a:solidFill>
                  <a:srgbClr val="000000"/>
                </a:solidFill>
              </a:rPr>
              <a:t>-IN </a:t>
            </a:r>
            <a:r>
              <a:rPr lang="en-US" sz="1200" b="0" dirty="0" smtClean="0">
                <a:solidFill>
                  <a:srgbClr val="000000"/>
                </a:solidFill>
              </a:rPr>
              <a:t>SLIDE OPTION #2.</a:t>
            </a:r>
            <a:r>
              <a:rPr lang="en-US" sz="1200" b="0" baseline="0" dirty="0" smtClean="0">
                <a:solidFill>
                  <a:srgbClr val="000000"/>
                </a:solidFill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ead of the Title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lide, display this slide on the venue screen while your audience is arriving. 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is </a:t>
            </a:r>
            <a:r>
              <a:rPr lang="en-US" sz="1200" b="1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t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title slide. 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dirty="0" smtClean="0">
                <a:effectLst/>
              </a:rPr>
              <a:t/>
            </a:r>
            <a:br>
              <a:rPr lang="en-US" sz="1200" dirty="0" smtClean="0">
                <a:effectLst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 only a high-resolution photograph.</a:t>
            </a:r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8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1686279"/>
            <a:ext cx="9144000" cy="379165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461956"/>
            <a:ext cx="7772400" cy="1225021"/>
          </a:xfrm>
          <a:prstGeom prst="rect">
            <a:avLst/>
          </a:prstGeom>
        </p:spPr>
        <p:txBody>
          <a:bodyPr lIns="91433" tIns="45717" rIns="91433" bIns="45717"/>
          <a:lstStyle>
            <a:lvl1pPr algn="r">
              <a:defRPr sz="3600" b="0">
                <a:solidFill>
                  <a:srgbClr val="FFFFFF"/>
                </a:solidFill>
              </a:defRPr>
            </a:lvl1pPr>
          </a:lstStyle>
          <a:p>
            <a:pPr algn="r"/>
            <a:r>
              <a:rPr lang="en-US" b="1" dirty="0" smtClean="0">
                <a:solidFill>
                  <a:schemeClr val="bg1"/>
                </a:solidFill>
              </a:rPr>
              <a:t>Click to add title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143500" y="3310822"/>
            <a:ext cx="3543300" cy="546217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0" indent="0" algn="r">
              <a:buNone/>
              <a:defRPr sz="1800" b="1">
                <a:solidFill>
                  <a:schemeClr val="tx1"/>
                </a:solidFill>
              </a:defRPr>
            </a:lvl1pPr>
            <a:lvl2pPr marL="457164" indent="0">
              <a:buNone/>
              <a:defRPr sz="2400" b="1">
                <a:solidFill>
                  <a:schemeClr val="tx1"/>
                </a:solidFill>
              </a:defRPr>
            </a:lvl2pPr>
            <a:lvl3pPr marL="914327" indent="0">
              <a:buNone/>
              <a:defRPr sz="2400" b="1">
                <a:solidFill>
                  <a:schemeClr val="tx1"/>
                </a:solidFill>
              </a:defRPr>
            </a:lvl3pPr>
            <a:lvl4pPr marL="1371491" indent="0">
              <a:buNone/>
              <a:defRPr sz="2400" b="1">
                <a:solidFill>
                  <a:schemeClr val="tx1"/>
                </a:solidFill>
              </a:defRPr>
            </a:lvl4pPr>
            <a:lvl5pPr marL="1828654" indent="0">
              <a:buNone/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presenter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143500" y="3857626"/>
            <a:ext cx="3543300" cy="564444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dat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1686280"/>
            <a:ext cx="7772400" cy="816681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0" indent="0" algn="r">
              <a:buNone/>
              <a:defRPr sz="2400">
                <a:solidFill>
                  <a:schemeClr val="tx1"/>
                </a:solidFill>
              </a:defRPr>
            </a:lvl1pPr>
            <a:lvl2pPr marL="457164" indent="0" algn="r">
              <a:buNone/>
              <a:defRPr sz="3600"/>
            </a:lvl2pPr>
            <a:lvl3pPr marL="914327" indent="0" algn="r">
              <a:buNone/>
              <a:defRPr sz="3600"/>
            </a:lvl3pPr>
            <a:lvl4pPr marL="1371491" indent="0" algn="r">
              <a:buNone/>
              <a:defRPr sz="3600"/>
            </a:lvl4pPr>
            <a:lvl5pPr marL="1828654" indent="0" algn="r">
              <a:buNone/>
              <a:defRPr sz="3600"/>
            </a:lvl5pPr>
          </a:lstStyle>
          <a:p>
            <a:pPr lvl="0"/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-1432560" y="0"/>
            <a:ext cx="1432560" cy="4893640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r>
              <a:rPr lang="en-US" sz="1200" b="1" dirty="0" smtClean="0">
                <a:solidFill>
                  <a:srgbClr val="000000"/>
                </a:solidFill>
              </a:rPr>
              <a:t>NOTE</a:t>
            </a:r>
            <a:r>
              <a:rPr lang="en-US" sz="1200" b="0" dirty="0" smtClean="0">
                <a:solidFill>
                  <a:srgbClr val="000000"/>
                </a:solidFill>
              </a:rPr>
              <a:t>: THIS IS YOUR TITLE SLIDE. </a:t>
            </a:r>
          </a:p>
          <a:p>
            <a:endParaRPr lang="en-US" sz="1200" b="0" kern="1200" dirty="0" smtClean="0">
              <a:solidFill>
                <a:srgbClr val="000000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you use the Walk-in Slide, you may replace the gray LANL logo on the Title Slide with your organization’s logo and delete the NNSA logo/management statement. 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you DO NOT use one of the two the Walk-in Slide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ption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you MUST keep the LANL and NNSA logos and management statement on this Title Slide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7196667" y="0"/>
            <a:ext cx="1947333" cy="347663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8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add LA-UR# 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1" y="0"/>
            <a:ext cx="2054087" cy="215438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pPr marL="0" marR="0" lvl="0" indent="0" algn="l" defTabSz="457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dirty="0" smtClean="0">
                <a:solidFill>
                  <a:srgbClr val="FFFFFF"/>
                </a:solidFill>
              </a:rPr>
              <a:t>Los Alamos National Laboratory</a:t>
            </a:r>
          </a:p>
        </p:txBody>
      </p:sp>
    </p:spTree>
    <p:extLst>
      <p:ext uri="{BB962C8B-B14F-4D97-AF65-F5344CB8AC3E}">
        <p14:creationId xmlns:p14="http://schemas.microsoft.com/office/powerpoint/2010/main" val="1322302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228866"/>
            <a:ext cx="9144000" cy="5246246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474872" y="488601"/>
            <a:ext cx="8136043" cy="809624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0" indent="0">
              <a:buNone/>
              <a:defRPr sz="2400" b="1">
                <a:solidFill>
                  <a:srgbClr val="3C3C3B"/>
                </a:solidFill>
              </a:defRPr>
            </a:lvl1pPr>
            <a:lvl2pPr marL="457164" indent="0">
              <a:buNone/>
              <a:defRPr sz="3600" b="1">
                <a:solidFill>
                  <a:srgbClr val="FFFFFF"/>
                </a:solidFill>
              </a:defRPr>
            </a:lvl2pPr>
            <a:lvl3pPr marL="914327" indent="0">
              <a:buNone/>
              <a:defRPr sz="3600" b="1">
                <a:solidFill>
                  <a:srgbClr val="FFFFFF"/>
                </a:solidFill>
              </a:defRPr>
            </a:lvl3pPr>
            <a:lvl4pPr marL="1371491" indent="0">
              <a:buNone/>
              <a:defRPr sz="3600" b="1">
                <a:solidFill>
                  <a:srgbClr val="FFFFFF"/>
                </a:solidFill>
              </a:defRPr>
            </a:lvl4pPr>
            <a:lvl5pPr marL="1828654" indent="0">
              <a:buNone/>
              <a:defRPr sz="3600" b="1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474872" y="1317626"/>
            <a:ext cx="8136043" cy="4157486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228600" indent="-228600">
              <a:buFont typeface="Arial"/>
              <a:buChar char="•"/>
              <a:defRPr lang="en-US" sz="1800" b="1" smtClean="0"/>
            </a:lvl1pPr>
            <a:lvl2pPr marL="457200" indent="-228600">
              <a:buFont typeface="Arial"/>
              <a:buChar char="•"/>
              <a:defRPr sz="1800"/>
            </a:lvl2pPr>
            <a:lvl3pPr marL="693738" indent="-227013">
              <a:defRPr sz="1800"/>
            </a:lvl3pPr>
          </a:lstStyle>
          <a:p>
            <a:pPr lvl="0"/>
            <a:r>
              <a:rPr lang="en-US" dirty="0" smtClean="0"/>
              <a:t>Click to add agenda items</a:t>
            </a:r>
          </a:p>
          <a:p>
            <a:pPr lvl="1"/>
            <a:r>
              <a:rPr lang="en-US" dirty="0" smtClean="0"/>
              <a:t>Tab to indent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89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a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228866"/>
            <a:ext cx="9144000" cy="5246246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229306"/>
            <a:ext cx="4792133" cy="5245806"/>
          </a:xfrm>
          <a:prstGeom prst="rect">
            <a:avLst/>
          </a:prstGeom>
        </p:spPr>
        <p:txBody>
          <a:bodyPr vert="horz" lIns="91433" tIns="45717" rIns="91433" bIns="45717"/>
          <a:lstStyle>
            <a:lvl1pPr>
              <a:defRPr lang="en-US" sz="1500" smtClean="0"/>
            </a:lvl1pPr>
          </a:lstStyle>
          <a:p>
            <a:r>
              <a:rPr lang="en-US" sz="1500" dirty="0" smtClean="0">
                <a:solidFill>
                  <a:prstClr val="black"/>
                </a:solidFill>
                <a:latin typeface="Helvetica"/>
              </a:rPr>
              <a:t>Click icon to insert photo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4960938" y="488601"/>
            <a:ext cx="3979862" cy="809624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0" indent="0">
              <a:buNone/>
              <a:defRPr sz="2400" b="1">
                <a:solidFill>
                  <a:srgbClr val="3C3C3B"/>
                </a:solidFill>
              </a:defRPr>
            </a:lvl1pPr>
            <a:lvl2pPr marL="457164" indent="0">
              <a:buNone/>
              <a:defRPr sz="3600" b="1">
                <a:solidFill>
                  <a:srgbClr val="FFFFFF"/>
                </a:solidFill>
              </a:defRPr>
            </a:lvl2pPr>
            <a:lvl3pPr marL="914327" indent="0">
              <a:buNone/>
              <a:defRPr sz="3600" b="1">
                <a:solidFill>
                  <a:srgbClr val="FFFFFF"/>
                </a:solidFill>
              </a:defRPr>
            </a:lvl3pPr>
            <a:lvl4pPr marL="1371491" indent="0">
              <a:buNone/>
              <a:defRPr sz="3600" b="1">
                <a:solidFill>
                  <a:srgbClr val="FFFFFF"/>
                </a:solidFill>
              </a:defRPr>
            </a:lvl4pPr>
            <a:lvl5pPr marL="1828654" indent="0">
              <a:buNone/>
              <a:defRPr sz="3600" b="1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4960938" y="1317626"/>
            <a:ext cx="3979862" cy="4157486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228600" indent="-228600">
              <a:buFont typeface="Arial"/>
              <a:buChar char="•"/>
              <a:defRPr lang="en-US" sz="1800" b="1" smtClean="0"/>
            </a:lvl1pPr>
            <a:lvl2pPr marL="457200" indent="-228600">
              <a:buFont typeface="Arial"/>
              <a:buChar char="•"/>
              <a:defRPr sz="1800"/>
            </a:lvl2pPr>
            <a:lvl3pPr marL="693738" indent="-227013">
              <a:defRPr sz="1800"/>
            </a:lvl3pPr>
          </a:lstStyle>
          <a:p>
            <a:pPr lvl="0"/>
            <a:r>
              <a:rPr lang="en-US" dirty="0" smtClean="0"/>
              <a:t>Click to add agenda items</a:t>
            </a:r>
          </a:p>
          <a:p>
            <a:pPr lvl="1"/>
            <a:r>
              <a:rPr lang="en-US" dirty="0" smtClean="0"/>
              <a:t>Tab to indent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55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228866"/>
            <a:ext cx="9144000" cy="5246246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28866"/>
            <a:ext cx="8229600" cy="952500"/>
          </a:xfrm>
          <a:prstGeom prst="rect">
            <a:avLst/>
          </a:prstGeom>
        </p:spPr>
        <p:txBody>
          <a:bodyPr lIns="91433" tIns="45717" rIns="91433" bIns="45717"/>
          <a:lstStyle>
            <a:lvl1pPr algn="l">
              <a:defRPr sz="2400" b="1"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57200" y="1333501"/>
            <a:ext cx="8229600" cy="3802944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231775" indent="-231775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="1"/>
            </a:lvl1pPr>
            <a:lvl2pPr marL="452438" indent="-220663" defTabSz="574675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/>
            </a:lvl2pPr>
            <a:lvl3pPr marL="687388" indent="-227013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400"/>
            </a:lvl3pPr>
            <a:lvl4pPr marL="912813" indent="-227013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400"/>
            </a:lvl4pPr>
            <a:lvl5pPr marL="922337" indent="0">
              <a:spcBef>
                <a:spcPts val="0"/>
              </a:spcBef>
              <a:spcAft>
                <a:spcPts val="600"/>
              </a:spcAft>
              <a:buFont typeface="Arial"/>
              <a:buNone/>
              <a:defRPr sz="1100"/>
            </a:lvl5pPr>
            <a:lvl6pPr marL="1370013" indent="-227013">
              <a:tabLst/>
              <a:defRPr sz="1100"/>
            </a:lvl6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endParaRPr lang="en-US" dirty="0" smtClean="0"/>
          </a:p>
        </p:txBody>
      </p:sp>
      <p:sp>
        <p:nvSpPr>
          <p:cNvPr id="26" name="Rectangle 25"/>
          <p:cNvSpPr/>
          <p:nvPr userDrawn="1"/>
        </p:nvSpPr>
        <p:spPr>
          <a:xfrm>
            <a:off x="-117070" y="1114869"/>
            <a:ext cx="101168" cy="335921"/>
          </a:xfrm>
          <a:prstGeom prst="rect">
            <a:avLst/>
          </a:prstGeom>
          <a:solidFill>
            <a:srgbClr val="2682C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-117070" y="1450790"/>
            <a:ext cx="101168" cy="335921"/>
          </a:xfrm>
          <a:prstGeom prst="rect">
            <a:avLst/>
          </a:prstGeom>
          <a:solidFill>
            <a:srgbClr val="EA772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/>
          <p:cNvSpPr/>
          <p:nvPr userDrawn="1"/>
        </p:nvSpPr>
        <p:spPr>
          <a:xfrm>
            <a:off x="-117070" y="1786710"/>
            <a:ext cx="101168" cy="335921"/>
          </a:xfrm>
          <a:prstGeom prst="rect">
            <a:avLst/>
          </a:prstGeom>
          <a:solidFill>
            <a:srgbClr val="F4482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-117070" y="2122631"/>
            <a:ext cx="101168" cy="335921"/>
          </a:xfrm>
          <a:prstGeom prst="rect">
            <a:avLst/>
          </a:prstGeom>
          <a:solidFill>
            <a:srgbClr val="22935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/>
          <p:cNvSpPr/>
          <p:nvPr userDrawn="1"/>
        </p:nvSpPr>
        <p:spPr>
          <a:xfrm>
            <a:off x="-117070" y="0"/>
            <a:ext cx="101168" cy="335921"/>
          </a:xfrm>
          <a:prstGeom prst="rect">
            <a:avLst/>
          </a:prstGeom>
          <a:solidFill>
            <a:srgbClr val="0D0E2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-117070" y="335920"/>
            <a:ext cx="101168" cy="335921"/>
          </a:xfrm>
          <a:prstGeom prst="rect">
            <a:avLst/>
          </a:prstGeom>
          <a:solidFill>
            <a:srgbClr val="F8B61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 userDrawn="1"/>
        </p:nvSpPr>
        <p:spPr>
          <a:xfrm>
            <a:off x="-117070" y="727308"/>
            <a:ext cx="101168" cy="3359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TextBox 32"/>
          <p:cNvSpPr txBox="1"/>
          <p:nvPr userDrawn="1"/>
        </p:nvSpPr>
        <p:spPr>
          <a:xfrm>
            <a:off x="-1046480" y="-2"/>
            <a:ext cx="9294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0D0C2E"/>
                </a:solidFill>
              </a:rPr>
              <a:t>NOTE:</a:t>
            </a:r>
          </a:p>
          <a:p>
            <a:r>
              <a:rPr lang="en-US" sz="1200" dirty="0" smtClean="0">
                <a:solidFill>
                  <a:srgbClr val="0D0C2E"/>
                </a:solidFill>
              </a:rPr>
              <a:t>This is</a:t>
            </a:r>
            <a:r>
              <a:rPr lang="en-US" sz="1200" baseline="0" dirty="0" smtClean="0">
                <a:solidFill>
                  <a:srgbClr val="0D0C2E"/>
                </a:solidFill>
              </a:rPr>
              <a:t> the lab color palette. </a:t>
            </a:r>
            <a:r>
              <a:rPr lang="en-US" sz="1200" baseline="0" dirty="0" smtClean="0">
                <a:solidFill>
                  <a:srgbClr val="0D0C2E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</a:p>
        </p:txBody>
      </p:sp>
    </p:spTree>
    <p:extLst>
      <p:ext uri="{BB962C8B-B14F-4D97-AF65-F5344CB8AC3E}">
        <p14:creationId xmlns:p14="http://schemas.microsoft.com/office/powerpoint/2010/main" val="3046111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 userDrawn="1"/>
        </p:nvSpPr>
        <p:spPr>
          <a:xfrm>
            <a:off x="0" y="228866"/>
            <a:ext cx="9144000" cy="5246246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29306"/>
            <a:ext cx="8229600" cy="952500"/>
          </a:xfrm>
          <a:prstGeom prst="rect">
            <a:avLst/>
          </a:prstGeom>
        </p:spPr>
        <p:txBody>
          <a:bodyPr vert="horz" lIns="91433" tIns="45717" rIns="91433" bIns="45717"/>
          <a:lstStyle>
            <a:lvl1pPr algn="l">
              <a:defRPr sz="2400" b="1"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57200" y="1333501"/>
            <a:ext cx="4019550" cy="3802944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342873" indent="-342873">
              <a:buFont typeface="Arial"/>
              <a:buChar char="•"/>
              <a:defRPr lang="en-US" sz="1800" b="1" dirty="0" smtClean="0"/>
            </a:lvl1pPr>
            <a:lvl2pPr marL="517525" indent="-285750">
              <a:buFont typeface="Arial"/>
              <a:buChar char="•"/>
              <a:defRPr lang="en-US" sz="1800" dirty="0" smtClean="0"/>
            </a:lvl2pPr>
            <a:lvl3pPr marL="744538" indent="-227013">
              <a:buFont typeface="Arial"/>
              <a:buChar char="•"/>
              <a:tabLst/>
              <a:defRPr lang="en-US" sz="1400" dirty="0" smtClean="0"/>
            </a:lvl3pPr>
            <a:lvl4pPr marL="741362" indent="0">
              <a:buFont typeface="Arial"/>
              <a:buNone/>
              <a:defRPr sz="1400"/>
            </a:lvl4pPr>
            <a:lvl5pPr marL="1374702" indent="0">
              <a:buNone/>
              <a:defRPr/>
            </a:lvl5pPr>
            <a:lvl6pPr marL="1831865" indent="0">
              <a:buNone/>
              <a:defRPr/>
            </a:lvl6pPr>
            <a:lvl7pPr marL="2289029" indent="0">
              <a:buNone/>
              <a:defRPr/>
            </a:lvl7pPr>
          </a:lstStyle>
          <a:p>
            <a:pPr marL="231775" marR="0" lvl="0" indent="-231775" algn="l" defTabSz="457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endParaRPr lang="en-US" dirty="0" smtClean="0"/>
          </a:p>
          <a:p>
            <a:pPr lvl="3"/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67250" y="1333501"/>
            <a:ext cx="4019550" cy="3802944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231775" marR="0" indent="-231775" algn="l" defTabSz="457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 lang="en-US" sz="18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7525" indent="-285750">
              <a:buFont typeface="Arial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4538" indent="-227013" defTabSz="458788">
              <a:buFont typeface="Arial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7900" indent="-227013">
              <a:buFont typeface="Arial"/>
              <a:buChar char="•"/>
              <a:tabLst/>
              <a:defRPr sz="1400"/>
            </a:lvl4pPr>
          </a:lstStyle>
          <a:p>
            <a:pPr marL="231775" marR="0" lvl="0" indent="-231775" algn="l" defTabSz="457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 smtClean="0"/>
              <a:t>Click to add content</a:t>
            </a:r>
          </a:p>
          <a:p>
            <a:pPr marL="517525" lvl="1" indent="-285750" algn="l" defTabSz="457164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endParaRPr lang="en-US" dirty="0" smtClean="0"/>
          </a:p>
        </p:txBody>
      </p:sp>
      <p:sp>
        <p:nvSpPr>
          <p:cNvPr id="30" name="Rectangle 29"/>
          <p:cNvSpPr/>
          <p:nvPr userDrawn="1"/>
        </p:nvSpPr>
        <p:spPr>
          <a:xfrm>
            <a:off x="-117070" y="1114869"/>
            <a:ext cx="101168" cy="335921"/>
          </a:xfrm>
          <a:prstGeom prst="rect">
            <a:avLst/>
          </a:prstGeom>
          <a:solidFill>
            <a:srgbClr val="2682C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>
            <a:off x="-117070" y="1450790"/>
            <a:ext cx="101168" cy="335921"/>
          </a:xfrm>
          <a:prstGeom prst="rect">
            <a:avLst/>
          </a:prstGeom>
          <a:solidFill>
            <a:srgbClr val="EA772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 userDrawn="1"/>
        </p:nvSpPr>
        <p:spPr>
          <a:xfrm>
            <a:off x="-117070" y="1786710"/>
            <a:ext cx="101168" cy="335921"/>
          </a:xfrm>
          <a:prstGeom prst="rect">
            <a:avLst/>
          </a:prstGeom>
          <a:solidFill>
            <a:srgbClr val="F4482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32"/>
          <p:cNvSpPr/>
          <p:nvPr userDrawn="1"/>
        </p:nvSpPr>
        <p:spPr>
          <a:xfrm>
            <a:off x="-117070" y="2122631"/>
            <a:ext cx="101168" cy="335921"/>
          </a:xfrm>
          <a:prstGeom prst="rect">
            <a:avLst/>
          </a:prstGeom>
          <a:solidFill>
            <a:srgbClr val="22935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 33"/>
          <p:cNvSpPr/>
          <p:nvPr userDrawn="1"/>
        </p:nvSpPr>
        <p:spPr>
          <a:xfrm>
            <a:off x="-117070" y="0"/>
            <a:ext cx="101168" cy="335921"/>
          </a:xfrm>
          <a:prstGeom prst="rect">
            <a:avLst/>
          </a:prstGeom>
          <a:solidFill>
            <a:srgbClr val="0D0E2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 userDrawn="1"/>
        </p:nvSpPr>
        <p:spPr>
          <a:xfrm>
            <a:off x="-117070" y="335920"/>
            <a:ext cx="101168" cy="335921"/>
          </a:xfrm>
          <a:prstGeom prst="rect">
            <a:avLst/>
          </a:prstGeom>
          <a:solidFill>
            <a:srgbClr val="F8B61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 35"/>
          <p:cNvSpPr/>
          <p:nvPr userDrawn="1"/>
        </p:nvSpPr>
        <p:spPr>
          <a:xfrm>
            <a:off x="-117070" y="727308"/>
            <a:ext cx="101168" cy="3359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608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 userDrawn="1"/>
        </p:nvSpPr>
        <p:spPr>
          <a:xfrm>
            <a:off x="0" y="228866"/>
            <a:ext cx="9144000" cy="5246246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4792137" y="1354671"/>
            <a:ext cx="4351865" cy="3857623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/>
          <a:lstStyle/>
          <a:p>
            <a:pPr lvl="0" algn="ctr"/>
            <a:endParaRPr lang="en-US" dirty="0"/>
          </a:p>
        </p:txBody>
      </p:sp>
      <p:sp>
        <p:nvSpPr>
          <p:cNvPr id="37" name="Rectangle 36"/>
          <p:cNvSpPr/>
          <p:nvPr userDrawn="1"/>
        </p:nvSpPr>
        <p:spPr>
          <a:xfrm>
            <a:off x="-117070" y="1114869"/>
            <a:ext cx="101168" cy="335921"/>
          </a:xfrm>
          <a:prstGeom prst="rect">
            <a:avLst/>
          </a:prstGeom>
          <a:solidFill>
            <a:srgbClr val="2682C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ectangle 37"/>
          <p:cNvSpPr/>
          <p:nvPr userDrawn="1"/>
        </p:nvSpPr>
        <p:spPr>
          <a:xfrm>
            <a:off x="-117070" y="1450790"/>
            <a:ext cx="101168" cy="335921"/>
          </a:xfrm>
          <a:prstGeom prst="rect">
            <a:avLst/>
          </a:prstGeom>
          <a:solidFill>
            <a:srgbClr val="EA772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/>
          <p:cNvSpPr/>
          <p:nvPr userDrawn="1"/>
        </p:nvSpPr>
        <p:spPr>
          <a:xfrm>
            <a:off x="-117070" y="1786710"/>
            <a:ext cx="101168" cy="335921"/>
          </a:xfrm>
          <a:prstGeom prst="rect">
            <a:avLst/>
          </a:prstGeom>
          <a:solidFill>
            <a:srgbClr val="F4482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 39"/>
          <p:cNvSpPr/>
          <p:nvPr userDrawn="1"/>
        </p:nvSpPr>
        <p:spPr>
          <a:xfrm>
            <a:off x="-117070" y="2122631"/>
            <a:ext cx="101168" cy="335921"/>
          </a:xfrm>
          <a:prstGeom prst="rect">
            <a:avLst/>
          </a:prstGeom>
          <a:solidFill>
            <a:srgbClr val="22935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40"/>
          <p:cNvSpPr/>
          <p:nvPr userDrawn="1"/>
        </p:nvSpPr>
        <p:spPr>
          <a:xfrm>
            <a:off x="-117070" y="0"/>
            <a:ext cx="101168" cy="335921"/>
          </a:xfrm>
          <a:prstGeom prst="rect">
            <a:avLst/>
          </a:prstGeom>
          <a:solidFill>
            <a:srgbClr val="0D0E2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41"/>
          <p:cNvSpPr/>
          <p:nvPr userDrawn="1"/>
        </p:nvSpPr>
        <p:spPr>
          <a:xfrm>
            <a:off x="-117070" y="335920"/>
            <a:ext cx="101168" cy="335921"/>
          </a:xfrm>
          <a:prstGeom prst="rect">
            <a:avLst/>
          </a:prstGeom>
          <a:solidFill>
            <a:srgbClr val="F8B61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tangle 42"/>
          <p:cNvSpPr/>
          <p:nvPr userDrawn="1"/>
        </p:nvSpPr>
        <p:spPr>
          <a:xfrm>
            <a:off x="-117070" y="727308"/>
            <a:ext cx="101168" cy="3359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57200" y="1333501"/>
            <a:ext cx="4019550" cy="3802944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342900" indent="-342900">
              <a:buFont typeface="Arial"/>
              <a:buChar char="•"/>
              <a:defRPr lang="en-US" sz="2400" b="1" smtClean="0"/>
            </a:lvl1pPr>
            <a:lvl2pPr marL="174625" indent="0">
              <a:buFont typeface="Arial"/>
              <a:buNone/>
              <a:defRPr lang="en-US" sz="2000" dirty="0" smtClean="0"/>
            </a:lvl2pPr>
            <a:lvl3pPr marL="685800" indent="-231775">
              <a:defRPr lang="en-US" sz="1800" dirty="0" smtClean="0"/>
            </a:lvl3pPr>
            <a:lvl4pPr marL="577904" indent="-342900">
              <a:buFont typeface="Arial"/>
              <a:buChar char="•"/>
              <a:defRPr/>
            </a:lvl4pPr>
            <a:lvl5pPr marL="1374702" indent="0">
              <a:buNone/>
              <a:defRPr/>
            </a:lvl5pPr>
            <a:lvl6pPr marL="1831865" indent="0">
              <a:buNone/>
              <a:defRPr/>
            </a:lvl6pPr>
            <a:lvl7pPr marL="2289029" indent="0">
              <a:buNone/>
              <a:defRPr/>
            </a:lvl7pPr>
          </a:lstStyle>
          <a:p>
            <a:pPr marL="231775" lvl="0" indent="-231775">
              <a:spcBef>
                <a:spcPts val="0"/>
              </a:spcBef>
              <a:spcAft>
                <a:spcPts val="600"/>
              </a:spcAft>
            </a:pPr>
            <a:r>
              <a:rPr lang="en-US" dirty="0" smtClean="0"/>
              <a:t>Click icon to insert chart, graph, table, or SmartArt</a:t>
            </a:r>
          </a:p>
          <a:p>
            <a:pPr marL="406400" lvl="1" indent="-231775">
              <a:spcBef>
                <a:spcPts val="0"/>
              </a:spcBef>
              <a:spcAft>
                <a:spcPts val="600"/>
              </a:spcAft>
            </a:pPr>
            <a:endParaRPr lang="en-US" dirty="0" smtClean="0"/>
          </a:p>
          <a:p>
            <a:pPr marL="1031784" lvl="2" indent="-231775">
              <a:spcBef>
                <a:spcPts val="0"/>
              </a:spcBef>
              <a:spcAft>
                <a:spcPts val="600"/>
              </a:spcAft>
            </a:pPr>
            <a:endParaRPr lang="en-US" dirty="0" smtClean="0"/>
          </a:p>
          <a:p>
            <a:pPr marL="457140" lvl="0" indent="-231775">
              <a:spcBef>
                <a:spcPts val="0"/>
              </a:spcBef>
              <a:spcAft>
                <a:spcPts val="600"/>
              </a:spcAft>
            </a:pPr>
            <a:endParaRPr lang="en-US" dirty="0" smtClean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29306"/>
            <a:ext cx="8229600" cy="952500"/>
          </a:xfrm>
          <a:prstGeom prst="rect">
            <a:avLst/>
          </a:prstGeom>
        </p:spPr>
        <p:txBody>
          <a:bodyPr vert="horz" lIns="91433" tIns="45717" rIns="91433" bIns="45717"/>
          <a:lstStyle>
            <a:lvl1pPr algn="l"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890770" y="1450790"/>
            <a:ext cx="3796030" cy="3685655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231775" marR="0" indent="-231775" algn="l" defTabSz="457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 lang="en-US" sz="1800" b="1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17525" indent="-285750">
              <a:buFont typeface="Arial"/>
              <a:buChar char="•"/>
              <a:defRPr lang="en-US" sz="18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744538" indent="-227013" defTabSz="458788">
              <a:buFont typeface="Arial"/>
              <a:buChar char="•"/>
              <a:defRPr lang="en-US" sz="14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977900" indent="-227013">
              <a:buFont typeface="Arial"/>
              <a:buChar char="•"/>
              <a:tabLst/>
              <a:defRPr sz="1400">
                <a:solidFill>
                  <a:srgbClr val="FFFFFF"/>
                </a:solidFill>
              </a:defRPr>
            </a:lvl4pPr>
          </a:lstStyle>
          <a:p>
            <a:pPr marL="231775" marR="0" lvl="0" indent="-231775" algn="l" defTabSz="457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 smtClean="0"/>
              <a:t>Click to add content</a:t>
            </a:r>
          </a:p>
          <a:p>
            <a:pPr marL="517525" lvl="1" indent="-285750" algn="l" defTabSz="457164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30937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ine-u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 userDrawn="1"/>
        </p:nvSpPr>
        <p:spPr>
          <a:xfrm>
            <a:off x="0" y="228866"/>
            <a:ext cx="9144000" cy="5246246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29306"/>
            <a:ext cx="8229600" cy="952500"/>
          </a:xfrm>
          <a:prstGeom prst="rect">
            <a:avLst/>
          </a:prstGeom>
        </p:spPr>
        <p:txBody>
          <a:bodyPr vert="horz" lIns="91433" tIns="45717" rIns="91433" bIns="45717"/>
          <a:lstStyle>
            <a:lvl1pPr algn="l">
              <a:defRPr sz="2400" b="1"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181807"/>
            <a:ext cx="3009900" cy="3439583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342873" marR="0" indent="-342873" algn="l" defTabSz="45716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1500" smtClean="0"/>
            </a:lvl1pPr>
          </a:lstStyle>
          <a:p>
            <a:r>
              <a:rPr lang="en-US" sz="1500" dirty="0" smtClean="0">
                <a:solidFill>
                  <a:prstClr val="black"/>
                </a:solidFill>
                <a:latin typeface="Helvetica"/>
              </a:rPr>
              <a:t>Click icon to insert photo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4621390"/>
            <a:ext cx="2552700" cy="684389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0" indent="0" algn="r">
              <a:buNone/>
              <a:defRPr sz="1400" i="1"/>
            </a:lvl1pPr>
            <a:lvl2pPr marL="457164" indent="0">
              <a:buNone/>
              <a:defRPr sz="1800" i="1"/>
            </a:lvl2pPr>
            <a:lvl3pPr marL="914327" indent="0">
              <a:buNone/>
              <a:defRPr sz="1800" i="1"/>
            </a:lvl3pPr>
            <a:lvl4pPr marL="1371491" indent="0">
              <a:buNone/>
              <a:defRPr sz="1800" i="1"/>
            </a:lvl4pPr>
            <a:lvl5pPr marL="1828654" indent="0">
              <a:buNone/>
              <a:defRPr sz="1800" i="1"/>
            </a:lvl5pPr>
          </a:lstStyle>
          <a:p>
            <a:pPr lvl="0"/>
            <a:r>
              <a:rPr lang="en-US" dirty="0" smtClean="0"/>
              <a:t>Click to add caption</a:t>
            </a:r>
            <a:endParaRPr lang="en-US" dirty="0"/>
          </a:p>
        </p:txBody>
      </p:sp>
      <p:sp>
        <p:nvSpPr>
          <p:cNvPr id="20" name="Picture Placeholder 14"/>
          <p:cNvSpPr>
            <a:spLocks noGrp="1"/>
          </p:cNvSpPr>
          <p:nvPr>
            <p:ph type="pic" sz="quarter" idx="17" hasCustomPrompt="1"/>
          </p:nvPr>
        </p:nvSpPr>
        <p:spPr>
          <a:xfrm>
            <a:off x="3073400" y="1181807"/>
            <a:ext cx="3009900" cy="3439583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342873" marR="0" indent="-342873" algn="l" defTabSz="45716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1500" smtClean="0"/>
            </a:lvl1pPr>
          </a:lstStyle>
          <a:p>
            <a:r>
              <a:rPr lang="en-US" sz="1500" dirty="0" smtClean="0">
                <a:solidFill>
                  <a:prstClr val="black"/>
                </a:solidFill>
                <a:latin typeface="Helvetica"/>
              </a:rPr>
              <a:t>Click icon to insert photo</a:t>
            </a:r>
            <a:endParaRPr lang="en-US" dirty="0"/>
          </a:p>
        </p:txBody>
      </p:sp>
      <p:sp>
        <p:nvSpPr>
          <p:cNvPr id="21" name="Picture Placeholder 14"/>
          <p:cNvSpPr>
            <a:spLocks noGrp="1"/>
          </p:cNvSpPr>
          <p:nvPr>
            <p:ph type="pic" sz="quarter" idx="18" hasCustomPrompt="1"/>
          </p:nvPr>
        </p:nvSpPr>
        <p:spPr>
          <a:xfrm>
            <a:off x="6140450" y="1181807"/>
            <a:ext cx="3009900" cy="3439583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342873" marR="0" indent="-342873" algn="l" defTabSz="45716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lang="en-US" sz="1500" smtClean="0"/>
            </a:lvl1pPr>
          </a:lstStyle>
          <a:p>
            <a:r>
              <a:rPr lang="en-US" sz="1500" dirty="0" smtClean="0">
                <a:solidFill>
                  <a:prstClr val="black"/>
                </a:solidFill>
                <a:latin typeface="Helvetica"/>
              </a:rPr>
              <a:t>Click icon to insert photo</a:t>
            </a:r>
            <a:endParaRPr lang="en-US" dirty="0"/>
          </a:p>
        </p:txBody>
      </p:sp>
      <p:sp>
        <p:nvSpPr>
          <p:cNvPr id="36" name="Rectangle 35"/>
          <p:cNvSpPr/>
          <p:nvPr userDrawn="1"/>
        </p:nvSpPr>
        <p:spPr>
          <a:xfrm>
            <a:off x="-117070" y="1114869"/>
            <a:ext cx="101168" cy="335921"/>
          </a:xfrm>
          <a:prstGeom prst="rect">
            <a:avLst/>
          </a:prstGeom>
          <a:solidFill>
            <a:srgbClr val="2682C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 36"/>
          <p:cNvSpPr/>
          <p:nvPr userDrawn="1"/>
        </p:nvSpPr>
        <p:spPr>
          <a:xfrm>
            <a:off x="-117070" y="1450790"/>
            <a:ext cx="101168" cy="335921"/>
          </a:xfrm>
          <a:prstGeom prst="rect">
            <a:avLst/>
          </a:prstGeom>
          <a:solidFill>
            <a:srgbClr val="EA772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ectangle 37"/>
          <p:cNvSpPr/>
          <p:nvPr userDrawn="1"/>
        </p:nvSpPr>
        <p:spPr>
          <a:xfrm>
            <a:off x="-117070" y="1786710"/>
            <a:ext cx="101168" cy="335921"/>
          </a:xfrm>
          <a:prstGeom prst="rect">
            <a:avLst/>
          </a:prstGeom>
          <a:solidFill>
            <a:srgbClr val="F4482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/>
          <p:cNvSpPr/>
          <p:nvPr userDrawn="1"/>
        </p:nvSpPr>
        <p:spPr>
          <a:xfrm>
            <a:off x="-117070" y="2122631"/>
            <a:ext cx="101168" cy="335921"/>
          </a:xfrm>
          <a:prstGeom prst="rect">
            <a:avLst/>
          </a:prstGeom>
          <a:solidFill>
            <a:srgbClr val="22935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 39"/>
          <p:cNvSpPr/>
          <p:nvPr userDrawn="1"/>
        </p:nvSpPr>
        <p:spPr>
          <a:xfrm>
            <a:off x="-117070" y="0"/>
            <a:ext cx="101168" cy="335921"/>
          </a:xfrm>
          <a:prstGeom prst="rect">
            <a:avLst/>
          </a:prstGeom>
          <a:solidFill>
            <a:srgbClr val="0D0E2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40"/>
          <p:cNvSpPr/>
          <p:nvPr userDrawn="1"/>
        </p:nvSpPr>
        <p:spPr>
          <a:xfrm>
            <a:off x="-117070" y="335920"/>
            <a:ext cx="101168" cy="335921"/>
          </a:xfrm>
          <a:prstGeom prst="rect">
            <a:avLst/>
          </a:prstGeom>
          <a:solidFill>
            <a:srgbClr val="F8B617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41"/>
          <p:cNvSpPr/>
          <p:nvPr userDrawn="1"/>
        </p:nvSpPr>
        <p:spPr>
          <a:xfrm>
            <a:off x="-117070" y="727308"/>
            <a:ext cx="101168" cy="3359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3530600" y="4621390"/>
            <a:ext cx="2552700" cy="684389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0" indent="0" algn="r">
              <a:buNone/>
              <a:defRPr sz="1400" i="1"/>
            </a:lvl1pPr>
            <a:lvl2pPr marL="457164" indent="0">
              <a:buNone/>
              <a:defRPr sz="1800" i="1"/>
            </a:lvl2pPr>
            <a:lvl3pPr marL="914327" indent="0">
              <a:buNone/>
              <a:defRPr sz="1800" i="1"/>
            </a:lvl3pPr>
            <a:lvl4pPr marL="1371491" indent="0">
              <a:buNone/>
              <a:defRPr sz="1800" i="1"/>
            </a:lvl4pPr>
            <a:lvl5pPr marL="1828654" indent="0">
              <a:buNone/>
              <a:defRPr sz="1800" i="1"/>
            </a:lvl5pPr>
          </a:lstStyle>
          <a:p>
            <a:pPr lvl="0"/>
            <a:r>
              <a:rPr lang="en-US" dirty="0" smtClean="0"/>
              <a:t>Click to add caption</a:t>
            </a:r>
            <a:endParaRPr lang="en-US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6490238" y="4621390"/>
            <a:ext cx="2552700" cy="684389"/>
          </a:xfrm>
          <a:prstGeom prst="rect">
            <a:avLst/>
          </a:prstGeom>
        </p:spPr>
        <p:txBody>
          <a:bodyPr vert="horz" lIns="91433" tIns="45717" rIns="91433" bIns="45717"/>
          <a:lstStyle>
            <a:lvl1pPr marL="0" indent="0" algn="r">
              <a:buNone/>
              <a:defRPr sz="1400" i="1"/>
            </a:lvl1pPr>
            <a:lvl2pPr marL="457164" indent="0">
              <a:buNone/>
              <a:defRPr sz="1800" i="1"/>
            </a:lvl2pPr>
            <a:lvl3pPr marL="914327" indent="0">
              <a:buNone/>
              <a:defRPr sz="1800" i="1"/>
            </a:lvl3pPr>
            <a:lvl4pPr marL="1371491" indent="0">
              <a:buNone/>
              <a:defRPr sz="1800" i="1"/>
            </a:lvl4pPr>
            <a:lvl5pPr marL="1828654" indent="0">
              <a:buNone/>
              <a:defRPr sz="1800" i="1"/>
            </a:lvl5pPr>
          </a:lstStyle>
          <a:p>
            <a:pPr lvl="0"/>
            <a:r>
              <a:rPr lang="en-US" dirty="0" smtClean="0"/>
              <a:t>Click to add ca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0750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chemeClr val="accent1">
                <a:lumMod val="50000"/>
              </a:schemeClr>
            </a:gs>
            <a:gs pos="0">
              <a:schemeClr val="accent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" y="0"/>
            <a:ext cx="2054087" cy="215438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pPr marL="0" marR="0" lvl="0" indent="0" algn="l" defTabSz="457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dirty="0" smtClean="0">
                <a:solidFill>
                  <a:srgbClr val="FFFFFF"/>
                </a:solidFill>
              </a:rPr>
              <a:t>Los Alamos National Laborator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089913" y="5503333"/>
            <a:ext cx="2054087" cy="215438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pPr marL="0" marR="0" lvl="0" indent="0" algn="r" defTabSz="4571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dirty="0" smtClean="0">
                <a:solidFill>
                  <a:srgbClr val="FFFFFF"/>
                </a:solidFill>
              </a:rPr>
              <a:t>2/9/16   |   </a:t>
            </a:r>
            <a:fld id="{0E3383A8-03A5-2C4C-8EDC-330FC6B2C51C}" type="slidenum">
              <a:rPr lang="en-US" sz="800" b="0" smtClean="0">
                <a:solidFill>
                  <a:srgbClr val="FFFFFF"/>
                </a:solidFill>
              </a:rPr>
              <a:pPr marL="0" marR="0" lvl="0" indent="0" algn="r" defTabSz="4571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b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086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74" r:id="rId2"/>
    <p:sldLayoutId id="2147483649" r:id="rId3"/>
    <p:sldLayoutId id="2147483676" r:id="rId4"/>
    <p:sldLayoutId id="2147483657" r:id="rId5"/>
    <p:sldLayoutId id="2147483650" r:id="rId6"/>
    <p:sldLayoutId id="2147483652" r:id="rId7"/>
    <p:sldLayoutId id="2147483658" r:id="rId8"/>
    <p:sldLayoutId id="2147483653" r:id="rId9"/>
    <p:sldLayoutId id="2147483673" r:id="rId10"/>
    <p:sldLayoutId id="2147483655" r:id="rId11"/>
    <p:sldLayoutId id="2147483654" r:id="rId12"/>
    <p:sldLayoutId id="2147483656" r:id="rId13"/>
    <p:sldLayoutId id="2147483675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sldNum="0" hdr="0"/>
  <p:txStyles>
    <p:titleStyle>
      <a:lvl1pPr algn="ctr" defTabSz="45716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73" indent="-342873" algn="l" defTabSz="45716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90" indent="-285727" algn="l" defTabSz="45716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09" indent="-228582" algn="l" defTabSz="45716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72" indent="-228582" algn="l" defTabSz="45716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36" indent="-228582" algn="l" defTabSz="45716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9" indent="-228582" algn="l" defTabSz="45716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3" indent="-228582" algn="l" defTabSz="45716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7" indent="-228582" algn="l" defTabSz="45716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0" indent="-228582" algn="l" defTabSz="45716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4" algn="l" defTabSz="457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457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1" algn="l" defTabSz="457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457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7" algn="l" defTabSz="457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1" algn="l" defTabSz="457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5" algn="l" defTabSz="457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4571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Layout" Target="../slideLayouts/slideLayout14.xml"/><Relationship Id="rId5" Type="http://schemas.openxmlformats.org/officeDocument/2006/relationships/hyperlink" Target="http://int.lanl.gov/library/scholarly/rassti-info.shtml" TargetMode="External"/><Relationship Id="rId6" Type="http://schemas.openxmlformats.org/officeDocument/2006/relationships/image" Target="../media/image3.png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.jpeg"/><Relationship Id="rId3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57200" y="228866"/>
            <a:ext cx="8229600" cy="952500"/>
          </a:xfrm>
          <a:prstGeom prst="rect">
            <a:avLst/>
          </a:prstGeom>
        </p:spPr>
        <p:txBody>
          <a:bodyPr anchor="ctr"/>
          <a:lstStyle>
            <a:lvl1pPr algn="ctr" defTabSz="457164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Welcome to LANL’s new template!</a:t>
            </a:r>
            <a:endParaRPr lang="en-US" sz="2400" b="1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457200" y="1028701"/>
            <a:ext cx="7806267" cy="3802944"/>
          </a:xfrm>
          <a:prstGeom prst="rect">
            <a:avLst/>
          </a:prstGeom>
          <a:solidFill>
            <a:srgbClr val="FFFFFE"/>
          </a:solidFill>
        </p:spPr>
        <p:txBody>
          <a:bodyPr/>
          <a:lstStyle>
            <a:lvl1pPr marL="342873" indent="-342873" algn="l" defTabSz="457164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90" indent="-285727" algn="l" defTabSz="457164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09" indent="-228582" algn="l" defTabSz="457164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72" indent="-228582" algn="l" defTabSz="457164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36" indent="-228582" algn="l" defTabSz="457164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99" indent="-228582" algn="l" defTabSz="45716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63" indent="-228582" algn="l" defTabSz="45716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27" indent="-228582" algn="l" defTabSz="45716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90" indent="-228582" algn="l" defTabSz="45716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3363" indent="-233363">
              <a:spcAft>
                <a:spcPts val="1200"/>
              </a:spcAft>
            </a:pPr>
            <a:r>
              <a:rPr lang="en-US" sz="1000" b="1" dirty="0" smtClean="0"/>
              <a:t>How to Use the LANL PowerPoint Templates</a:t>
            </a:r>
            <a:r>
              <a:rPr lang="en-US" sz="1000" b="1" dirty="0"/>
              <a:t> </a:t>
            </a:r>
            <a:r>
              <a:rPr lang="en-US" sz="1000" b="1" dirty="0" smtClean="0"/>
              <a:t>- </a:t>
            </a:r>
            <a:r>
              <a:rPr lang="en-US" sz="1000" dirty="0" smtClean="0"/>
              <a:t>The LANL PowerPoint templates have been developed to help users easily create professional-looking slide presentations that meet the Lab’s brand and identity standards. The template designs are available in two display formats: standard and widescreen. The template you choose depends on your design preference and whether the projector at your venue is standard or widescreen display.</a:t>
            </a:r>
          </a:p>
          <a:p>
            <a:pPr marL="233363" indent="-233363">
              <a:spcAft>
                <a:spcPts val="1200"/>
              </a:spcAft>
            </a:pPr>
            <a:r>
              <a:rPr lang="en-US" sz="1000" b="1" dirty="0" smtClean="0"/>
              <a:t>Classification - </a:t>
            </a:r>
            <a:r>
              <a:rPr lang="en-US" sz="1000" dirty="0" smtClean="0"/>
              <a:t>Unclassified </a:t>
            </a:r>
            <a:r>
              <a:rPr lang="en-US" sz="1000" dirty="0"/>
              <a:t>LANL presentations do </a:t>
            </a:r>
            <a:r>
              <a:rPr lang="en-US" sz="1000" b="1" dirty="0"/>
              <a:t>not</a:t>
            </a:r>
            <a:r>
              <a:rPr lang="en-US" sz="1000" dirty="0"/>
              <a:t> require </a:t>
            </a:r>
            <a:r>
              <a:rPr lang="en-US" sz="1000" dirty="0" smtClean="0"/>
              <a:t>labeling. </a:t>
            </a:r>
            <a:r>
              <a:rPr lang="en-US" sz="1000" dirty="0"/>
              <a:t>The label is only necessary if a presentation is CLASSIFIED</a:t>
            </a:r>
            <a:r>
              <a:rPr lang="en-US" sz="1000" dirty="0" smtClean="0"/>
              <a:t>. A placeholder text box is located in the top right corner of the title slide for classification labeling if necessary.</a:t>
            </a:r>
            <a:endParaRPr lang="en-US" sz="1000" b="1" dirty="0" smtClean="0"/>
          </a:p>
          <a:p>
            <a:pPr marL="233363" indent="-233363">
              <a:spcAft>
                <a:spcPts val="1200"/>
              </a:spcAft>
            </a:pPr>
            <a:r>
              <a:rPr lang="en-US" sz="1000" b="1" dirty="0" smtClean="0"/>
              <a:t>LA-UR # - </a:t>
            </a:r>
            <a:r>
              <a:rPr lang="en-US" sz="1000" dirty="0"/>
              <a:t>All LANL presentations intended for external use must have an LA-UR #. </a:t>
            </a:r>
            <a:r>
              <a:rPr lang="en-US" sz="1000" dirty="0" smtClean="0"/>
              <a:t>For </a:t>
            </a:r>
            <a:r>
              <a:rPr lang="en-US" sz="1000" dirty="0"/>
              <a:t>more information on the LA-UR process, visit </a:t>
            </a:r>
            <a:r>
              <a:rPr lang="en-US" sz="1000" dirty="0">
                <a:hlinkClick r:id="rId5"/>
              </a:rPr>
              <a:t>http://int.lanl.gov/library/scholarly/rassti-</a:t>
            </a:r>
            <a:r>
              <a:rPr lang="en-US" sz="1000" dirty="0" smtClean="0">
                <a:hlinkClick r:id="rId5"/>
              </a:rPr>
              <a:t>info.shtml</a:t>
            </a:r>
            <a:r>
              <a:rPr lang="en-US" sz="1000" dirty="0" smtClean="0"/>
              <a:t>. </a:t>
            </a:r>
            <a:r>
              <a:rPr lang="en-US" sz="1000" dirty="0"/>
              <a:t>A </a:t>
            </a:r>
            <a:r>
              <a:rPr lang="en-US" sz="1000" dirty="0" smtClean="0"/>
              <a:t>placeholder </a:t>
            </a:r>
            <a:r>
              <a:rPr lang="en-US" sz="1000" dirty="0"/>
              <a:t>text box is located in the top right corner of the title slide for </a:t>
            </a:r>
            <a:r>
              <a:rPr lang="en-US" sz="1000" dirty="0" smtClean="0"/>
              <a:t>an LA-UR # if necessary.</a:t>
            </a:r>
            <a:endParaRPr lang="en-US" sz="1000" dirty="0"/>
          </a:p>
          <a:p>
            <a:pPr marL="233363" indent="-233363">
              <a:spcAft>
                <a:spcPts val="1200"/>
              </a:spcAft>
            </a:pPr>
            <a:r>
              <a:rPr lang="en-US" sz="1000" b="1" dirty="0" smtClean="0"/>
              <a:t>Date – </a:t>
            </a:r>
            <a:r>
              <a:rPr lang="en-US" sz="1000" dirty="0" smtClean="0"/>
              <a:t>The date is automatically set for your presentation in the footer of each slide. If you wish to enter a different date, </a:t>
            </a:r>
            <a:br>
              <a:rPr lang="en-US" sz="1000" dirty="0" smtClean="0"/>
            </a:br>
            <a:r>
              <a:rPr lang="en-US" sz="1000" dirty="0" smtClean="0"/>
              <a:t>you can do so by entering the Master View (View </a:t>
            </a:r>
            <a:r>
              <a:rPr lang="en-US" sz="1000" dirty="0"/>
              <a:t>&gt; </a:t>
            </a:r>
            <a:r>
              <a:rPr lang="en-US" sz="1000" dirty="0" smtClean="0"/>
              <a:t>Master &gt; Slide </a:t>
            </a:r>
            <a:r>
              <a:rPr lang="en-US" sz="1000" dirty="0"/>
              <a:t>Master</a:t>
            </a:r>
            <a:r>
              <a:rPr lang="en-US" sz="1000" dirty="0" smtClean="0"/>
              <a:t>). If you select the first slide in </a:t>
            </a:r>
            <a:br>
              <a:rPr lang="en-US" sz="1000" dirty="0" smtClean="0"/>
            </a:br>
            <a:r>
              <a:rPr lang="en-US" sz="1000" dirty="0" smtClean="0"/>
              <a:t>the left navigation panel, you can enter the new date in the text box and it will then automatically </a:t>
            </a:r>
            <a:br>
              <a:rPr lang="en-US" sz="1000" dirty="0" smtClean="0"/>
            </a:br>
            <a:r>
              <a:rPr lang="en-US" sz="1000" dirty="0" smtClean="0"/>
              <a:t>change the date on the footer of each slide. You can then close the</a:t>
            </a:r>
            <a:r>
              <a:rPr lang="en-US" sz="1000" dirty="0"/>
              <a:t> </a:t>
            </a:r>
            <a:r>
              <a:rPr lang="en-US" sz="1000" dirty="0" smtClean="0"/>
              <a:t>Master View to return to your </a:t>
            </a:r>
            <a:br>
              <a:rPr lang="en-US" sz="1000" dirty="0" smtClean="0"/>
            </a:br>
            <a:r>
              <a:rPr lang="en-US" sz="1000" dirty="0" smtClean="0"/>
              <a:t>presentation. NOTE: Do not delete the # symbol you see after the </a:t>
            </a:r>
            <a:r>
              <a:rPr lang="en-US" sz="1000" dirty="0"/>
              <a:t>date—this </a:t>
            </a:r>
            <a:r>
              <a:rPr lang="en-US" sz="1000" dirty="0" smtClean="0"/>
              <a:t>automatically inserts </a:t>
            </a:r>
            <a:br>
              <a:rPr lang="en-US" sz="1000" dirty="0" smtClean="0"/>
            </a:br>
            <a:r>
              <a:rPr lang="en-US" sz="1000" dirty="0" smtClean="0"/>
              <a:t>the slide number for the footer. </a:t>
            </a:r>
          </a:p>
          <a:p>
            <a:pPr marL="233363" indent="-233363">
              <a:spcAft>
                <a:spcPts val="1200"/>
              </a:spcAft>
            </a:pPr>
            <a:r>
              <a:rPr lang="en-US" sz="1000" b="1" dirty="0" smtClean="0"/>
              <a:t>Layouts - </a:t>
            </a:r>
            <a:r>
              <a:rPr lang="en-US" sz="1000" dirty="0" smtClean="0"/>
              <a:t>The template contains a wide selection of slide layouts for your convenience. Layouts are </a:t>
            </a:r>
            <a:br>
              <a:rPr lang="en-US" sz="1000" dirty="0" smtClean="0"/>
            </a:br>
            <a:r>
              <a:rPr lang="en-US" sz="1000" dirty="0" smtClean="0"/>
              <a:t>easily changed by clicking the “Layout” drop-down arrow (Home tab, Slides section). </a:t>
            </a:r>
          </a:p>
          <a:p>
            <a:pPr marL="233363" indent="-233363">
              <a:spcAft>
                <a:spcPts val="1200"/>
              </a:spcAft>
            </a:pPr>
            <a:r>
              <a:rPr lang="en-US" sz="1000" b="1" dirty="0" smtClean="0"/>
              <a:t>Color palette</a:t>
            </a:r>
            <a:r>
              <a:rPr lang="en-US" sz="1000" dirty="0"/>
              <a:t> </a:t>
            </a:r>
            <a:r>
              <a:rPr lang="en-US" sz="1000" dirty="0" smtClean="0"/>
              <a:t>- The official LANL color palette is provided on the left side of each slide. Use these colors </a:t>
            </a:r>
            <a:br>
              <a:rPr lang="en-US" sz="1000" dirty="0" smtClean="0"/>
            </a:br>
            <a:r>
              <a:rPr lang="en-US" sz="1000" dirty="0" smtClean="0"/>
              <a:t>for any charts and graphs. The color palette is also automatically set for this template.</a:t>
            </a:r>
          </a:p>
        </p:txBody>
      </p:sp>
      <p:grpSp>
        <p:nvGrpSpPr>
          <p:cNvPr id="8" name="Gruppieren 33"/>
          <p:cNvGrpSpPr/>
          <p:nvPr>
            <p:custDataLst>
              <p:tags r:id="rId1"/>
            </p:custDataLst>
          </p:nvPr>
        </p:nvGrpSpPr>
        <p:grpSpPr>
          <a:xfrm rot="20567693">
            <a:off x="6631364" y="2919534"/>
            <a:ext cx="2596550" cy="2657167"/>
            <a:chOff x="5049797" y="7130946"/>
            <a:chExt cx="1883925" cy="1460738"/>
          </a:xfrm>
        </p:grpSpPr>
        <p:pic>
          <p:nvPicPr>
            <p:cNvPr id="9" name="Grafik 5" descr="PostIt.png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6" cstate="print"/>
            <a:stretch>
              <a:fillRect/>
            </a:stretch>
          </p:blipFill>
          <p:spPr>
            <a:xfrm rot="388300">
              <a:off x="5049797" y="7136206"/>
              <a:ext cx="1858386" cy="1455478"/>
            </a:xfrm>
            <a:prstGeom prst="rect">
              <a:avLst/>
            </a:prstGeom>
          </p:spPr>
        </p:pic>
        <p:sp>
          <p:nvSpPr>
            <p:cNvPr id="10" name="Rectangle 1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rot="360376">
              <a:off x="5264026" y="7130946"/>
              <a:ext cx="1669696" cy="115333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70239" tIns="35120" rIns="70239" bIns="35120" anchor="ctr">
              <a:noAutofit/>
            </a:bodyPr>
            <a:lstStyle/>
            <a:p>
              <a:r>
                <a:rPr lang="en-US" b="1" i="1" dirty="0"/>
                <a:t>Look for more tips </a:t>
              </a:r>
              <a:endParaRPr lang="en-US" b="1" i="1" dirty="0" smtClean="0"/>
            </a:p>
            <a:p>
              <a:r>
                <a:rPr lang="en-US" sz="1100" b="1" i="1" dirty="0" smtClean="0"/>
                <a:t>on </a:t>
              </a:r>
              <a:r>
                <a:rPr lang="en-US" sz="1100" b="1" i="1" dirty="0"/>
                <a:t>the sides of each layout </a:t>
              </a:r>
              <a:endParaRPr lang="en-US" sz="1100" b="1" i="1" dirty="0" smtClean="0"/>
            </a:p>
            <a:p>
              <a:r>
                <a:rPr lang="en-US" sz="1100" b="1" i="1" dirty="0" smtClean="0"/>
                <a:t>by </a:t>
              </a:r>
              <a:r>
                <a:rPr lang="en-US" sz="1100" b="1" i="1" dirty="0"/>
                <a:t>zooming out </a:t>
              </a:r>
              <a:r>
                <a:rPr lang="en-US" sz="1100" b="1" i="1" dirty="0" smtClean="0"/>
                <a:t>or </a:t>
              </a:r>
              <a:r>
                <a:rPr lang="en-US" sz="1100" b="1" i="1" dirty="0"/>
                <a:t>scrolling </a:t>
              </a:r>
              <a:r>
                <a:rPr lang="en-US" sz="1100" b="1" i="1" dirty="0" smtClean="0"/>
                <a:t/>
              </a:r>
              <a:br>
                <a:rPr lang="en-US" sz="1100" b="1" i="1" dirty="0" smtClean="0"/>
              </a:br>
              <a:r>
                <a:rPr lang="en-US" sz="1100" b="1" i="1" dirty="0" smtClean="0"/>
                <a:t>left </a:t>
              </a:r>
              <a:r>
                <a:rPr lang="en-US" sz="1100" b="1" i="1" dirty="0"/>
                <a:t>and right. </a:t>
              </a:r>
              <a:r>
                <a:rPr lang="en-US" sz="1100" i="1" dirty="0"/>
                <a:t/>
              </a:r>
              <a:br>
                <a:rPr lang="en-US" sz="1100" i="1" dirty="0"/>
              </a:br>
              <a:endParaRPr lang="en-US" sz="1100" i="1" dirty="0" smtClean="0"/>
            </a:p>
            <a:p>
              <a:r>
                <a:rPr lang="en-US" sz="1100" i="1" dirty="0" smtClean="0"/>
                <a:t>Don’t </a:t>
              </a:r>
              <a:r>
                <a:rPr lang="en-US" sz="1100" i="1" dirty="0"/>
                <a:t>worry—any outside text won’t print or show when viewing </a:t>
              </a:r>
              <a:r>
                <a:rPr lang="en-US" sz="1100" i="1" dirty="0" smtClean="0"/>
                <a:t>your presentation</a:t>
              </a:r>
              <a:r>
                <a:rPr lang="en-US" sz="1100" i="1" dirty="0"/>
                <a:t>!</a:t>
              </a:r>
              <a:endParaRPr lang="en-US" sz="11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0345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148647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11" name="Picture Placeholder 10"/>
          <p:cNvSpPr>
            <a:spLocks noGrp="1"/>
          </p:cNvSpPr>
          <p:nvPr>
            <p:ph type="pic" sz="quarter" idx="18"/>
          </p:nvPr>
        </p:nvSpPr>
        <p:spPr/>
      </p:sp>
      <p:sp>
        <p:nvSpPr>
          <p:cNvPr id="12" name="Picture Placeholder 11"/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13" name="Picture Placeholder 12"/>
          <p:cNvSpPr>
            <a:spLocks noGrp="1"/>
          </p:cNvSpPr>
          <p:nvPr>
            <p:ph type="pic" sz="quarter" idx="20"/>
          </p:nvPr>
        </p:nvSpPr>
        <p:spPr/>
      </p:sp>
      <p:sp>
        <p:nvSpPr>
          <p:cNvPr id="14" name="Picture Placeholder 13"/>
          <p:cNvSpPr>
            <a:spLocks noGrp="1"/>
          </p:cNvSpPr>
          <p:nvPr>
            <p:ph type="pic" sz="quarter" idx="21"/>
          </p:nvPr>
        </p:nvSpPr>
        <p:spPr/>
      </p:sp>
    </p:spTree>
    <p:extLst>
      <p:ext uri="{BB962C8B-B14F-4D97-AF65-F5344CB8AC3E}">
        <p14:creationId xmlns:p14="http://schemas.microsoft.com/office/powerpoint/2010/main" val="515238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58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0645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2181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800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367563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 smtClean="0"/>
              <a:t>EOSlib</a:t>
            </a:r>
            <a:r>
              <a:rPr lang="en-US" dirty="0" smtClean="0"/>
              <a:t>: A Reference Implementation for Thermodynamic Models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C. Nathan Woods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mtClean="0"/>
              <a:t>May 4, 2017</a:t>
            </a:r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7" descr="Untitled-1.jpg"/>
          <p:cNvPicPr>
            <a:picLocks noChangeAspect="1"/>
          </p:cNvPicPr>
          <p:nvPr/>
        </p:nvPicPr>
        <p:blipFill rotWithShape="1">
          <a:blip r:embed="rId2" cstate="print">
            <a:alphaModFix amt="5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3933" y="2988543"/>
            <a:ext cx="4351867" cy="2191209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4572000" y="5026384"/>
            <a:ext cx="4572000" cy="452454"/>
            <a:chOff x="4572000" y="5026384"/>
            <a:chExt cx="4572000" cy="452454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4572000" y="5294172"/>
              <a:ext cx="45720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</a:rPr>
                <a:t>Operated by Los Alamos National Security, LLC for the U.S. Department of Energy's NNSA</a:t>
              </a:r>
            </a:p>
          </p:txBody>
        </p:sp>
        <p:pic>
          <p:nvPicPr>
            <p:cNvPr id="9" name="Picture 8" descr="NNSA_80%.ai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9116" t="44234" r="25200" b="40485"/>
            <a:stretch/>
          </p:blipFill>
          <p:spPr>
            <a:xfrm>
              <a:off x="8087551" y="5026384"/>
              <a:ext cx="961301" cy="3215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891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49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662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27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43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11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641850-e3d7-48a8-92d9-6fcd04b7bbc3"/>
  <p:tag name="MIO_EK" val="647"/>
  <p:tag name="MIO_UPDATE" val="True"/>
  <p:tag name="MIO_VERSION" val="12.08.2015 10:09:50"/>
  <p:tag name="MIO_DBID" val="25C89224-3BD0-4DAE-9699-6AD9CAF4AB96"/>
  <p:tag name="MIO_LASTDOWNLOADED" val="03.12.2015 17:23:26"/>
  <p:tag name="MIO_OBJECTNAME" val="Post-it yellow"/>
  <p:tag name="MIO_LASTEDITORNAME" val="empower enterpri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51c7a32-405e-4a0c-999e-8ae35c2c272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7efa935-ba3b-482f-8d28-015a3e86611a"/>
</p:tagLst>
</file>

<file path=ppt/theme/theme1.xml><?xml version="1.0" encoding="utf-8"?>
<a:theme xmlns:a="http://schemas.openxmlformats.org/drawingml/2006/main" name="beta-blue-wide">
  <a:themeElements>
    <a:clrScheme name="LANL2015">
      <a:dk1>
        <a:srgbClr val="3C3C3B"/>
      </a:dk1>
      <a:lt1>
        <a:sysClr val="window" lastClr="FFFFFF"/>
      </a:lt1>
      <a:dk2>
        <a:srgbClr val="636463"/>
      </a:dk2>
      <a:lt2>
        <a:srgbClr val="EFEEED"/>
      </a:lt2>
      <a:accent1>
        <a:srgbClr val="251D7C"/>
      </a:accent1>
      <a:accent2>
        <a:srgbClr val="F8B617"/>
      </a:accent2>
      <a:accent3>
        <a:srgbClr val="2682CF"/>
      </a:accent3>
      <a:accent4>
        <a:srgbClr val="EA7820"/>
      </a:accent4>
      <a:accent5>
        <a:srgbClr val="F4482D"/>
      </a:accent5>
      <a:accent6>
        <a:srgbClr val="229357"/>
      </a:accent6>
      <a:hlink>
        <a:srgbClr val="385AC7"/>
      </a:hlink>
      <a:folHlink>
        <a:srgbClr val="4E13D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LANL_BLUE_WIDE_15JAN2016 (002) [Read-Only]" id="{ED0731E9-7D3D-45CE-A037-E3A8D0080D83}" vid="{506EBD21-AEC2-4EE9-8215-013AB7E5DC1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ta-blue-wide.potx</Template>
  <TotalTime>4174</TotalTime>
  <Words>261</Words>
  <Application>Microsoft Macintosh PowerPoint</Application>
  <PresentationFormat>On-screen Show (16:10)</PresentationFormat>
  <Paragraphs>16</Paragraphs>
  <Slides>14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beta-blue-wide</vt:lpstr>
      <vt:lpstr>PowerPoint Presentation</vt:lpstr>
      <vt:lpstr>PowerPoint Presentation</vt:lpstr>
      <vt:lpstr>PowerPoint Presentation</vt:lpstr>
      <vt:lpstr>EOSlib: A Reference Implementation for Thermodynamic Mode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ulian Kornmaier</dc:creator>
  <cp:lastModifiedBy>Nathan Woods</cp:lastModifiedBy>
  <cp:revision>53</cp:revision>
  <dcterms:created xsi:type="dcterms:W3CDTF">2015-12-09T13:24:45Z</dcterms:created>
  <dcterms:modified xsi:type="dcterms:W3CDTF">2017-04-05T21:45:26Z</dcterms:modified>
</cp:coreProperties>
</file>